
<file path=[Content_Types].xml><?xml version="1.0" encoding="utf-8"?>
<Types xmlns="http://schemas.openxmlformats.org/package/2006/content-types">
  <Default Extension="bin" ContentType="application/vnd.openxmlformats-officedocument.oleObject"/>
  <Default Extension="docx" ContentType="application/vnd.openxmlformats-officedocument.wordprocessingml.documen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5561" r:id="rId4"/>
    <p:sldMasterId id="2147485571" r:id="rId5"/>
  </p:sldMasterIdLst>
  <p:notesMasterIdLst>
    <p:notesMasterId r:id="rId27"/>
  </p:notesMasterIdLst>
  <p:handoutMasterIdLst>
    <p:handoutMasterId r:id="rId28"/>
  </p:handoutMasterIdLst>
  <p:sldIdLst>
    <p:sldId id="2147375795" r:id="rId6"/>
    <p:sldId id="2147375810" r:id="rId7"/>
    <p:sldId id="2147375811" r:id="rId8"/>
    <p:sldId id="2147375812" r:id="rId9"/>
    <p:sldId id="2147375796" r:id="rId10"/>
    <p:sldId id="2134806401" r:id="rId11"/>
    <p:sldId id="264" r:id="rId12"/>
    <p:sldId id="2134806352" r:id="rId13"/>
    <p:sldId id="2147375814" r:id="rId14"/>
    <p:sldId id="2147375802" r:id="rId15"/>
    <p:sldId id="2147375801" r:id="rId16"/>
    <p:sldId id="2147375803" r:id="rId17"/>
    <p:sldId id="2147375804" r:id="rId18"/>
    <p:sldId id="2147375806" r:id="rId19"/>
    <p:sldId id="2147375807" r:id="rId20"/>
    <p:sldId id="2147375808" r:id="rId21"/>
    <p:sldId id="2147375805" r:id="rId22"/>
    <p:sldId id="2147375798" r:id="rId23"/>
    <p:sldId id="2147375800" r:id="rId24"/>
    <p:sldId id="2147375813" r:id="rId25"/>
    <p:sldId id="266" r:id="rId2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CRAMOND, Vanessa" initials="CV" lastIdx="41" clrIdx="6">
    <p:extLst>
      <p:ext uri="{19B8F6BF-5375-455C-9EA6-DF929625EA0E}">
        <p15:presenceInfo xmlns:p15="http://schemas.microsoft.com/office/powerpoint/2012/main" userId="S::cramondv@who.int::73a90e61-378e-4cc7-a94f-e44f15b420a8" providerId="AD"/>
      </p:ext>
    </p:extLst>
  </p:cmAuthor>
  <p:cmAuthor id="1" name="DIAZ, Janet Victoria" initials="DJV" lastIdx="6" clrIdx="0"/>
  <p:cmAuthor id="8" name="SACKS, Jilian" initials="SJ" lastIdx="6" clrIdx="7">
    <p:extLst>
      <p:ext uri="{19B8F6BF-5375-455C-9EA6-DF929625EA0E}">
        <p15:presenceInfo xmlns:p15="http://schemas.microsoft.com/office/powerpoint/2012/main" userId="S::sacksj@who.int::0a0e16e2-2bc6-45a0-8650-13b9c6acd5f6" providerId="AD"/>
      </p:ext>
    </p:extLst>
  </p:cmAuthor>
  <p:cmAuthor id="2" name="KHARE, Shagun" initials="KS" lastIdx="3" clrIdx="1"/>
  <p:cmAuthor id="9" name="KUPPALLI, Krutika" initials="KK" lastIdx="4" clrIdx="8">
    <p:extLst>
      <p:ext uri="{19B8F6BF-5375-455C-9EA6-DF929625EA0E}">
        <p15:presenceInfo xmlns:p15="http://schemas.microsoft.com/office/powerpoint/2012/main" userId="S::kuppallik@who.int::13af27e0-9f21-4512-a0fc-a405dc75f1bf" providerId="AD"/>
      </p:ext>
    </p:extLst>
  </p:cmAuthor>
  <p:cmAuthor id="3" name="Yuka JINNAI" initials="YJ" lastIdx="8" clrIdx="2"/>
  <p:cmAuthor id="4" name="Martha Gartley" initials="MG" lastIdx="5" clrIdx="3"/>
  <p:cmAuthor id="5" name="DIAZ, Janet Victoria" initials="DJV [2]" lastIdx="2" clrIdx="4"/>
  <p:cmAuthor id="6" name="LADO CASTRO-RIAL, Marta" initials="LCRM" lastIdx="3" clrIdx="5">
    <p:extLst>
      <p:ext uri="{19B8F6BF-5375-455C-9EA6-DF929625EA0E}">
        <p15:presenceInfo xmlns:p15="http://schemas.microsoft.com/office/powerpoint/2012/main" userId="S::ladom@who.int::1e1cab93-04ac-4f77-8193-ac84063cbc8e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E2B56"/>
    <a:srgbClr val="0000CC"/>
    <a:srgbClr val="258342"/>
    <a:srgbClr val="BC1A38"/>
    <a:srgbClr val="F8A90C"/>
    <a:srgbClr val="4498D8"/>
    <a:srgbClr val="2A9B47"/>
    <a:srgbClr val="343434"/>
    <a:srgbClr val="AB7DBC"/>
    <a:srgbClr val="CEB0D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951"/>
    <p:restoredTop sz="84694" autoAdjust="0"/>
  </p:normalViewPr>
  <p:slideViewPr>
    <p:cSldViewPr snapToGrid="0">
      <p:cViewPr varScale="1">
        <p:scale>
          <a:sx n="98" d="100"/>
          <a:sy n="98" d="100"/>
        </p:scale>
        <p:origin x="747" y="5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Relationship Id="rId8" Type="http://schemas.openxmlformats.org/officeDocument/2006/relationships/slide" Target="slides/slide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3_1">
  <dgm:title val=""/>
  <dgm:desc val=""/>
  <dgm:catLst>
    <dgm:cat type="accent3" pri="11100"/>
  </dgm:catLst>
  <dgm:styleLbl name="node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3">
        <a:alpha val="4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1FF272D-ED1D-4638-992A-E60049E2581C}" type="doc">
      <dgm:prSet loTypeId="urn:microsoft.com/office/officeart/2005/8/layout/list1" loCatId="list" qsTypeId="urn:microsoft.com/office/officeart/2005/8/quickstyle/simple1" qsCatId="simple" csTypeId="urn:microsoft.com/office/officeart/2005/8/colors/accent3_1" csCatId="accent3" phldr="1"/>
      <dgm:spPr/>
      <dgm:t>
        <a:bodyPr/>
        <a:lstStyle/>
        <a:p>
          <a:endParaRPr lang="en-US"/>
        </a:p>
      </dgm:t>
    </dgm:pt>
    <dgm:pt modelId="{F33E014E-8482-469B-A80B-8571F923CC86}">
      <dgm:prSet custT="1"/>
      <dgm:spPr/>
      <dgm:t>
        <a:bodyPr/>
        <a:lstStyle/>
        <a:p>
          <a:r>
            <a:rPr lang="en-US" sz="2400" dirty="0">
              <a:solidFill>
                <a:srgbClr val="000000"/>
              </a:solidFill>
            </a:rPr>
            <a:t>What makes a strong recommendation? ‘We recommend…’</a:t>
          </a:r>
        </a:p>
      </dgm:t>
    </dgm:pt>
    <dgm:pt modelId="{2F80C9C1-F50F-4653-BF3E-04DD350715B5}" type="parTrans" cxnId="{63E318B5-C696-424D-A4F9-9C56E4BADFF7}">
      <dgm:prSet/>
      <dgm:spPr/>
      <dgm:t>
        <a:bodyPr/>
        <a:lstStyle/>
        <a:p>
          <a:endParaRPr lang="en-US"/>
        </a:p>
      </dgm:t>
    </dgm:pt>
    <dgm:pt modelId="{30A5D387-4683-4255-8158-C75CE3442353}" type="sibTrans" cxnId="{63E318B5-C696-424D-A4F9-9C56E4BADFF7}">
      <dgm:prSet/>
      <dgm:spPr/>
      <dgm:t>
        <a:bodyPr/>
        <a:lstStyle/>
        <a:p>
          <a:endParaRPr lang="en-US"/>
        </a:p>
      </dgm:t>
    </dgm:pt>
    <dgm:pt modelId="{6B458109-086C-4297-A6B5-B22D99522515}">
      <dgm:prSet custT="1"/>
      <dgm:spPr>
        <a:solidFill>
          <a:schemeClr val="accent6">
            <a:lumMod val="20000"/>
            <a:lumOff val="80000"/>
            <a:alpha val="90000"/>
          </a:schemeClr>
        </a:solidFill>
      </dgm:spPr>
      <dgm:t>
        <a:bodyPr/>
        <a:lstStyle/>
        <a:p>
          <a:pPr>
            <a:buFont typeface="Système normal"/>
            <a:buChar char="-"/>
          </a:pPr>
          <a:r>
            <a:rPr lang="en-US" sz="2400" dirty="0">
              <a:solidFill>
                <a:srgbClr val="000000"/>
              </a:solidFill>
            </a:rPr>
            <a:t>Benefits clearly outweigh risks/hassle/cost, </a:t>
          </a:r>
          <a:r>
            <a:rPr lang="en-US" sz="2400" i="1" dirty="0">
              <a:solidFill>
                <a:srgbClr val="000000"/>
              </a:solidFill>
            </a:rPr>
            <a:t>OR</a:t>
          </a:r>
          <a:endParaRPr lang="en-US" sz="2400" dirty="0">
            <a:solidFill>
              <a:srgbClr val="000000"/>
            </a:solidFill>
          </a:endParaRPr>
        </a:p>
      </dgm:t>
    </dgm:pt>
    <dgm:pt modelId="{E7B058A2-854A-4C33-927D-266747CFC526}" type="parTrans" cxnId="{0876E47B-C54B-4ACA-BC61-E0DA1201D1B7}">
      <dgm:prSet/>
      <dgm:spPr/>
      <dgm:t>
        <a:bodyPr/>
        <a:lstStyle/>
        <a:p>
          <a:endParaRPr lang="en-US"/>
        </a:p>
      </dgm:t>
    </dgm:pt>
    <dgm:pt modelId="{1DC36501-7D6A-4779-84D0-4DA3AA3B9DCC}" type="sibTrans" cxnId="{0876E47B-C54B-4ACA-BC61-E0DA1201D1B7}">
      <dgm:prSet/>
      <dgm:spPr/>
      <dgm:t>
        <a:bodyPr/>
        <a:lstStyle/>
        <a:p>
          <a:endParaRPr lang="en-US"/>
        </a:p>
      </dgm:t>
    </dgm:pt>
    <dgm:pt modelId="{13BB5F39-FBF2-4CDD-A1BB-08ADEC2D24B2}">
      <dgm:prSet custT="1"/>
      <dgm:spPr>
        <a:solidFill>
          <a:schemeClr val="accent6">
            <a:lumMod val="20000"/>
            <a:lumOff val="80000"/>
            <a:alpha val="90000"/>
          </a:schemeClr>
        </a:solidFill>
      </dgm:spPr>
      <dgm:t>
        <a:bodyPr/>
        <a:lstStyle/>
        <a:p>
          <a:pPr>
            <a:buFont typeface="Système normal"/>
            <a:buChar char="-"/>
          </a:pPr>
          <a:r>
            <a:rPr lang="en-US" sz="2400" dirty="0">
              <a:solidFill>
                <a:srgbClr val="000000"/>
              </a:solidFill>
            </a:rPr>
            <a:t>Risk/hassle/cost clearly outweighs benefit</a:t>
          </a:r>
        </a:p>
      </dgm:t>
    </dgm:pt>
    <dgm:pt modelId="{51B9548C-BB04-4CE1-BC59-6BD6CDD953B6}" type="parTrans" cxnId="{3799C93B-7064-440D-9603-35CA9EE4327D}">
      <dgm:prSet/>
      <dgm:spPr/>
      <dgm:t>
        <a:bodyPr/>
        <a:lstStyle/>
        <a:p>
          <a:endParaRPr lang="en-US"/>
        </a:p>
      </dgm:t>
    </dgm:pt>
    <dgm:pt modelId="{17CE1EF5-81C7-4190-832F-351372D5C7B7}" type="sibTrans" cxnId="{3799C93B-7064-440D-9603-35CA9EE4327D}">
      <dgm:prSet/>
      <dgm:spPr/>
      <dgm:t>
        <a:bodyPr/>
        <a:lstStyle/>
        <a:p>
          <a:endParaRPr lang="en-US"/>
        </a:p>
      </dgm:t>
    </dgm:pt>
    <dgm:pt modelId="{1A8ECEE3-A609-401A-B3A6-360B7646EDA8}">
      <dgm:prSet custT="1"/>
      <dgm:spPr/>
      <dgm:t>
        <a:bodyPr/>
        <a:lstStyle/>
        <a:p>
          <a:r>
            <a:rPr lang="en-US" sz="2400" dirty="0">
              <a:solidFill>
                <a:srgbClr val="000000"/>
              </a:solidFill>
            </a:rPr>
            <a:t>What can downgrade strength to a conditional recommendation?  ‘We suggest…’</a:t>
          </a:r>
        </a:p>
      </dgm:t>
    </dgm:pt>
    <dgm:pt modelId="{B6A555E4-3249-4ED8-9765-DED1BDB10A30}" type="parTrans" cxnId="{398A325F-3354-4ED4-A15A-70E16040D0B7}">
      <dgm:prSet/>
      <dgm:spPr/>
      <dgm:t>
        <a:bodyPr/>
        <a:lstStyle/>
        <a:p>
          <a:endParaRPr lang="en-US"/>
        </a:p>
      </dgm:t>
    </dgm:pt>
    <dgm:pt modelId="{6D24E0DC-322D-49ED-9157-EB5472FE3D5A}" type="sibTrans" cxnId="{398A325F-3354-4ED4-A15A-70E16040D0B7}">
      <dgm:prSet/>
      <dgm:spPr/>
      <dgm:t>
        <a:bodyPr/>
        <a:lstStyle/>
        <a:p>
          <a:endParaRPr lang="en-US"/>
        </a:p>
      </dgm:t>
    </dgm:pt>
    <dgm:pt modelId="{154F8045-5086-498C-888E-78D2E5169E27}">
      <dgm:prSet custT="1"/>
      <dgm:spPr>
        <a:solidFill>
          <a:schemeClr val="accent2">
            <a:lumMod val="20000"/>
            <a:lumOff val="80000"/>
            <a:alpha val="90000"/>
          </a:schemeClr>
        </a:solidFill>
      </dgm:spPr>
      <dgm:t>
        <a:bodyPr/>
        <a:lstStyle/>
        <a:p>
          <a:pPr>
            <a:buFont typeface="Système normal"/>
            <a:buChar char="-"/>
          </a:pPr>
          <a:r>
            <a:rPr lang="en-US" sz="2400" dirty="0">
              <a:solidFill>
                <a:srgbClr val="000000"/>
              </a:solidFill>
            </a:rPr>
            <a:t>Close balance between up and downsides (benefits/harms)</a:t>
          </a:r>
        </a:p>
      </dgm:t>
    </dgm:pt>
    <dgm:pt modelId="{55C4A161-EE10-45F9-881A-6E8EFBE56FFF}" type="parTrans" cxnId="{22421489-092F-4097-8D51-5CBF5C7FFA73}">
      <dgm:prSet/>
      <dgm:spPr/>
      <dgm:t>
        <a:bodyPr/>
        <a:lstStyle/>
        <a:p>
          <a:endParaRPr lang="en-US"/>
        </a:p>
      </dgm:t>
    </dgm:pt>
    <dgm:pt modelId="{1F5CAA3A-A044-4E97-A1F2-3AFBCDE1C467}" type="sibTrans" cxnId="{22421489-092F-4097-8D51-5CBF5C7FFA73}">
      <dgm:prSet/>
      <dgm:spPr/>
      <dgm:t>
        <a:bodyPr/>
        <a:lstStyle/>
        <a:p>
          <a:endParaRPr lang="en-US"/>
        </a:p>
      </dgm:t>
    </dgm:pt>
    <dgm:pt modelId="{D65AAF60-50EE-403D-8E08-9A322A77CD20}">
      <dgm:prSet custT="1"/>
      <dgm:spPr>
        <a:solidFill>
          <a:schemeClr val="accent2">
            <a:lumMod val="20000"/>
            <a:lumOff val="80000"/>
            <a:alpha val="90000"/>
          </a:schemeClr>
        </a:solidFill>
      </dgm:spPr>
      <dgm:t>
        <a:bodyPr/>
        <a:lstStyle/>
        <a:p>
          <a:pPr>
            <a:buFont typeface="Système normal"/>
            <a:buChar char="-"/>
          </a:pPr>
          <a:r>
            <a:rPr lang="en-US" sz="2400" dirty="0">
              <a:solidFill>
                <a:srgbClr val="000000"/>
              </a:solidFill>
            </a:rPr>
            <a:t>Values and preferences</a:t>
          </a:r>
        </a:p>
      </dgm:t>
    </dgm:pt>
    <dgm:pt modelId="{C5CE7447-07A2-4CA8-85F0-60F8BBCE7DF1}" type="parTrans" cxnId="{0B11D1B3-7DA6-4B81-96E9-C16E304BEA0F}">
      <dgm:prSet/>
      <dgm:spPr/>
      <dgm:t>
        <a:bodyPr/>
        <a:lstStyle/>
        <a:p>
          <a:endParaRPr lang="en-US"/>
        </a:p>
      </dgm:t>
    </dgm:pt>
    <dgm:pt modelId="{32E7215E-3DB4-4B41-BA20-A08A48966A3F}" type="sibTrans" cxnId="{0B11D1B3-7DA6-4B81-96E9-C16E304BEA0F}">
      <dgm:prSet/>
      <dgm:spPr/>
      <dgm:t>
        <a:bodyPr/>
        <a:lstStyle/>
        <a:p>
          <a:endParaRPr lang="en-US"/>
        </a:p>
      </dgm:t>
    </dgm:pt>
    <dgm:pt modelId="{FEF3B3BA-963F-4A66-9B7F-8577A67480A0}">
      <dgm:prSet custT="1"/>
      <dgm:spPr>
        <a:solidFill>
          <a:schemeClr val="accent2">
            <a:lumMod val="20000"/>
            <a:lumOff val="80000"/>
            <a:alpha val="90000"/>
          </a:schemeClr>
        </a:solidFill>
      </dgm:spPr>
      <dgm:t>
        <a:bodyPr/>
        <a:lstStyle/>
        <a:p>
          <a:pPr>
            <a:buFont typeface="Système normal"/>
            <a:buChar char="-"/>
          </a:pPr>
          <a:r>
            <a:rPr lang="en-US" sz="2400" dirty="0">
              <a:solidFill>
                <a:srgbClr val="000000"/>
              </a:solidFill>
            </a:rPr>
            <a:t>Costs, practical limitations</a:t>
          </a:r>
        </a:p>
      </dgm:t>
    </dgm:pt>
    <dgm:pt modelId="{0043FC58-F8B9-467F-BDD0-E02EF03D9722}" type="parTrans" cxnId="{EC186144-363F-47DA-94FC-7A4364D9CB85}">
      <dgm:prSet/>
      <dgm:spPr/>
      <dgm:t>
        <a:bodyPr/>
        <a:lstStyle/>
        <a:p>
          <a:endParaRPr lang="en-US"/>
        </a:p>
      </dgm:t>
    </dgm:pt>
    <dgm:pt modelId="{F889E947-A377-4CFD-906B-CD6F8EA9E832}" type="sibTrans" cxnId="{EC186144-363F-47DA-94FC-7A4364D9CB85}">
      <dgm:prSet/>
      <dgm:spPr/>
      <dgm:t>
        <a:bodyPr/>
        <a:lstStyle/>
        <a:p>
          <a:endParaRPr lang="en-US"/>
        </a:p>
      </dgm:t>
    </dgm:pt>
    <dgm:pt modelId="{4913080A-F457-4B22-A96B-BBA281C2A99C}">
      <dgm:prSet custT="1"/>
      <dgm:spPr>
        <a:solidFill>
          <a:schemeClr val="accent2">
            <a:lumMod val="20000"/>
            <a:lumOff val="80000"/>
            <a:alpha val="90000"/>
          </a:schemeClr>
        </a:solidFill>
      </dgm:spPr>
      <dgm:t>
        <a:bodyPr/>
        <a:lstStyle/>
        <a:p>
          <a:pPr>
            <a:buFont typeface="Système normal"/>
            <a:buChar char="-"/>
          </a:pPr>
          <a:r>
            <a:rPr lang="en-US" sz="2400" dirty="0">
              <a:solidFill>
                <a:srgbClr val="000000"/>
              </a:solidFill>
            </a:rPr>
            <a:t>Low certainty evidence </a:t>
          </a:r>
        </a:p>
      </dgm:t>
    </dgm:pt>
    <dgm:pt modelId="{87E616AA-1A14-4A0B-BA50-297A0A67BD11}" type="parTrans" cxnId="{E186DD6C-B978-4830-B28C-0C40DA69EC8B}">
      <dgm:prSet/>
      <dgm:spPr/>
      <dgm:t>
        <a:bodyPr/>
        <a:lstStyle/>
        <a:p>
          <a:endParaRPr lang="en-US"/>
        </a:p>
      </dgm:t>
    </dgm:pt>
    <dgm:pt modelId="{192FD867-169E-41CC-8B49-00E5B37AF742}" type="sibTrans" cxnId="{E186DD6C-B978-4830-B28C-0C40DA69EC8B}">
      <dgm:prSet/>
      <dgm:spPr/>
      <dgm:t>
        <a:bodyPr/>
        <a:lstStyle/>
        <a:p>
          <a:endParaRPr lang="en-US"/>
        </a:p>
      </dgm:t>
    </dgm:pt>
    <dgm:pt modelId="{CF274A76-1825-2B47-B9A0-3C2DC329F64C}" type="pres">
      <dgm:prSet presAssocID="{41FF272D-ED1D-4638-992A-E60049E2581C}" presName="linear" presStyleCnt="0">
        <dgm:presLayoutVars>
          <dgm:dir/>
          <dgm:animLvl val="lvl"/>
          <dgm:resizeHandles val="exact"/>
        </dgm:presLayoutVars>
      </dgm:prSet>
      <dgm:spPr/>
    </dgm:pt>
    <dgm:pt modelId="{052AB96E-9DE3-8944-944F-B6E25795CD6E}" type="pres">
      <dgm:prSet presAssocID="{F33E014E-8482-469B-A80B-8571F923CC86}" presName="parentLin" presStyleCnt="0"/>
      <dgm:spPr/>
    </dgm:pt>
    <dgm:pt modelId="{1A534927-F510-B948-8185-15987BC9ADC3}" type="pres">
      <dgm:prSet presAssocID="{F33E014E-8482-469B-A80B-8571F923CC86}" presName="parentLeftMargin" presStyleLbl="node1" presStyleIdx="0" presStyleCnt="2"/>
      <dgm:spPr/>
    </dgm:pt>
    <dgm:pt modelId="{65CF4BAA-344A-3C40-A03E-2C62678CA326}" type="pres">
      <dgm:prSet presAssocID="{F33E014E-8482-469B-A80B-8571F923CC86}" presName="parentText" presStyleLbl="node1" presStyleIdx="0" presStyleCnt="2" custScaleX="141221">
        <dgm:presLayoutVars>
          <dgm:chMax val="0"/>
          <dgm:bulletEnabled val="1"/>
        </dgm:presLayoutVars>
      </dgm:prSet>
      <dgm:spPr/>
    </dgm:pt>
    <dgm:pt modelId="{0F4339DB-3F91-394E-8408-C278C593471A}" type="pres">
      <dgm:prSet presAssocID="{F33E014E-8482-469B-A80B-8571F923CC86}" presName="negativeSpace" presStyleCnt="0"/>
      <dgm:spPr/>
    </dgm:pt>
    <dgm:pt modelId="{B809423D-D7C1-CD47-81B2-5B2D165F503E}" type="pres">
      <dgm:prSet presAssocID="{F33E014E-8482-469B-A80B-8571F923CC86}" presName="childText" presStyleLbl="conFgAcc1" presStyleIdx="0" presStyleCnt="2">
        <dgm:presLayoutVars>
          <dgm:bulletEnabled val="1"/>
        </dgm:presLayoutVars>
      </dgm:prSet>
      <dgm:spPr/>
    </dgm:pt>
    <dgm:pt modelId="{B0FF9897-E6D6-1E46-8F5A-3298960A8DFB}" type="pres">
      <dgm:prSet presAssocID="{30A5D387-4683-4255-8158-C75CE3442353}" presName="spaceBetweenRectangles" presStyleCnt="0"/>
      <dgm:spPr/>
    </dgm:pt>
    <dgm:pt modelId="{AFA68057-1244-014C-84F4-C067CAFA57D5}" type="pres">
      <dgm:prSet presAssocID="{1A8ECEE3-A609-401A-B3A6-360B7646EDA8}" presName="parentLin" presStyleCnt="0"/>
      <dgm:spPr/>
    </dgm:pt>
    <dgm:pt modelId="{F2D0C23D-5421-4344-9137-A7096F167DA8}" type="pres">
      <dgm:prSet presAssocID="{1A8ECEE3-A609-401A-B3A6-360B7646EDA8}" presName="parentLeftMargin" presStyleLbl="node1" presStyleIdx="0" presStyleCnt="2"/>
      <dgm:spPr/>
    </dgm:pt>
    <dgm:pt modelId="{C6D6C7CC-DE7B-5B41-9D2D-C0A872836C46}" type="pres">
      <dgm:prSet presAssocID="{1A8ECEE3-A609-401A-B3A6-360B7646EDA8}" presName="parentText" presStyleLbl="node1" presStyleIdx="1" presStyleCnt="2" custScaleX="142857">
        <dgm:presLayoutVars>
          <dgm:chMax val="0"/>
          <dgm:bulletEnabled val="1"/>
        </dgm:presLayoutVars>
      </dgm:prSet>
      <dgm:spPr/>
    </dgm:pt>
    <dgm:pt modelId="{BC3991B8-5BFB-154A-8979-F076238756A4}" type="pres">
      <dgm:prSet presAssocID="{1A8ECEE3-A609-401A-B3A6-360B7646EDA8}" presName="negativeSpace" presStyleCnt="0"/>
      <dgm:spPr/>
    </dgm:pt>
    <dgm:pt modelId="{57752A03-A9C4-7A49-B3BF-1E35AE58E309}" type="pres">
      <dgm:prSet presAssocID="{1A8ECEE3-A609-401A-B3A6-360B7646EDA8}" presName="childText" presStyleLbl="conFgAcc1" presStyleIdx="1" presStyleCnt="2">
        <dgm:presLayoutVars>
          <dgm:bulletEnabled val="1"/>
        </dgm:presLayoutVars>
      </dgm:prSet>
      <dgm:spPr/>
    </dgm:pt>
  </dgm:ptLst>
  <dgm:cxnLst>
    <dgm:cxn modelId="{6B28E922-A950-314F-BA64-86BD4BACAAF6}" type="presOf" srcId="{D65AAF60-50EE-403D-8E08-9A322A77CD20}" destId="{57752A03-A9C4-7A49-B3BF-1E35AE58E309}" srcOrd="0" destOrd="1" presId="urn:microsoft.com/office/officeart/2005/8/layout/list1"/>
    <dgm:cxn modelId="{8AF5A52F-0102-184F-9DD5-F2D46F5CC0E9}" type="presOf" srcId="{41FF272D-ED1D-4638-992A-E60049E2581C}" destId="{CF274A76-1825-2B47-B9A0-3C2DC329F64C}" srcOrd="0" destOrd="0" presId="urn:microsoft.com/office/officeart/2005/8/layout/list1"/>
    <dgm:cxn modelId="{4327DE35-CA15-8C47-AEAB-94AF357D8F42}" type="presOf" srcId="{13BB5F39-FBF2-4CDD-A1BB-08ADEC2D24B2}" destId="{B809423D-D7C1-CD47-81B2-5B2D165F503E}" srcOrd="0" destOrd="1" presId="urn:microsoft.com/office/officeart/2005/8/layout/list1"/>
    <dgm:cxn modelId="{3799C93B-7064-440D-9603-35CA9EE4327D}" srcId="{F33E014E-8482-469B-A80B-8571F923CC86}" destId="{13BB5F39-FBF2-4CDD-A1BB-08ADEC2D24B2}" srcOrd="1" destOrd="0" parTransId="{51B9548C-BB04-4CE1-BC59-6BD6CDD953B6}" sibTransId="{17CE1EF5-81C7-4190-832F-351372D5C7B7}"/>
    <dgm:cxn modelId="{E0869D5B-7132-9E47-8263-B651A3BE00B8}" type="presOf" srcId="{1A8ECEE3-A609-401A-B3A6-360B7646EDA8}" destId="{C6D6C7CC-DE7B-5B41-9D2D-C0A872836C46}" srcOrd="1" destOrd="0" presId="urn:microsoft.com/office/officeart/2005/8/layout/list1"/>
    <dgm:cxn modelId="{398A325F-3354-4ED4-A15A-70E16040D0B7}" srcId="{41FF272D-ED1D-4638-992A-E60049E2581C}" destId="{1A8ECEE3-A609-401A-B3A6-360B7646EDA8}" srcOrd="1" destOrd="0" parTransId="{B6A555E4-3249-4ED8-9765-DED1BDB10A30}" sibTransId="{6D24E0DC-322D-49ED-9157-EB5472FE3D5A}"/>
    <dgm:cxn modelId="{EC186144-363F-47DA-94FC-7A4364D9CB85}" srcId="{1A8ECEE3-A609-401A-B3A6-360B7646EDA8}" destId="{FEF3B3BA-963F-4A66-9B7F-8577A67480A0}" srcOrd="2" destOrd="0" parTransId="{0043FC58-F8B9-467F-BDD0-E02EF03D9722}" sibTransId="{F889E947-A377-4CFD-906B-CD6F8EA9E832}"/>
    <dgm:cxn modelId="{7967E247-20FB-A844-BBF7-3127B007BEB6}" type="presOf" srcId="{154F8045-5086-498C-888E-78D2E5169E27}" destId="{57752A03-A9C4-7A49-B3BF-1E35AE58E309}" srcOrd="0" destOrd="0" presId="urn:microsoft.com/office/officeart/2005/8/layout/list1"/>
    <dgm:cxn modelId="{E186DD6C-B978-4830-B28C-0C40DA69EC8B}" srcId="{1A8ECEE3-A609-401A-B3A6-360B7646EDA8}" destId="{4913080A-F457-4B22-A96B-BBA281C2A99C}" srcOrd="3" destOrd="0" parTransId="{87E616AA-1A14-4A0B-BA50-297A0A67BD11}" sibTransId="{192FD867-169E-41CC-8B49-00E5B37AF742}"/>
    <dgm:cxn modelId="{0876E47B-C54B-4ACA-BC61-E0DA1201D1B7}" srcId="{F33E014E-8482-469B-A80B-8571F923CC86}" destId="{6B458109-086C-4297-A6B5-B22D99522515}" srcOrd="0" destOrd="0" parTransId="{E7B058A2-854A-4C33-927D-266747CFC526}" sibTransId="{1DC36501-7D6A-4779-84D0-4DA3AA3B9DCC}"/>
    <dgm:cxn modelId="{4DA7C07E-3B6A-7C48-B378-7B3BF8465131}" type="presOf" srcId="{FEF3B3BA-963F-4A66-9B7F-8577A67480A0}" destId="{57752A03-A9C4-7A49-B3BF-1E35AE58E309}" srcOrd="0" destOrd="2" presId="urn:microsoft.com/office/officeart/2005/8/layout/list1"/>
    <dgm:cxn modelId="{22421489-092F-4097-8D51-5CBF5C7FFA73}" srcId="{1A8ECEE3-A609-401A-B3A6-360B7646EDA8}" destId="{154F8045-5086-498C-888E-78D2E5169E27}" srcOrd="0" destOrd="0" parTransId="{55C4A161-EE10-45F9-881A-6E8EFBE56FFF}" sibTransId="{1F5CAA3A-A044-4E97-A1F2-3AFBCDE1C467}"/>
    <dgm:cxn modelId="{D70C2794-ADC1-5F49-90C6-96566E067C14}" type="presOf" srcId="{1A8ECEE3-A609-401A-B3A6-360B7646EDA8}" destId="{F2D0C23D-5421-4344-9137-A7096F167DA8}" srcOrd="0" destOrd="0" presId="urn:microsoft.com/office/officeart/2005/8/layout/list1"/>
    <dgm:cxn modelId="{7D5434A8-4AF5-A14A-8315-8ABCD9428892}" type="presOf" srcId="{4913080A-F457-4B22-A96B-BBA281C2A99C}" destId="{57752A03-A9C4-7A49-B3BF-1E35AE58E309}" srcOrd="0" destOrd="3" presId="urn:microsoft.com/office/officeart/2005/8/layout/list1"/>
    <dgm:cxn modelId="{0B11D1B3-7DA6-4B81-96E9-C16E304BEA0F}" srcId="{1A8ECEE3-A609-401A-B3A6-360B7646EDA8}" destId="{D65AAF60-50EE-403D-8E08-9A322A77CD20}" srcOrd="1" destOrd="0" parTransId="{C5CE7447-07A2-4CA8-85F0-60F8BBCE7DF1}" sibTransId="{32E7215E-3DB4-4B41-BA20-A08A48966A3F}"/>
    <dgm:cxn modelId="{63E318B5-C696-424D-A4F9-9C56E4BADFF7}" srcId="{41FF272D-ED1D-4638-992A-E60049E2581C}" destId="{F33E014E-8482-469B-A80B-8571F923CC86}" srcOrd="0" destOrd="0" parTransId="{2F80C9C1-F50F-4653-BF3E-04DD350715B5}" sibTransId="{30A5D387-4683-4255-8158-C75CE3442353}"/>
    <dgm:cxn modelId="{2CE02EB9-5339-C243-8133-09C34A53007A}" type="presOf" srcId="{F33E014E-8482-469B-A80B-8571F923CC86}" destId="{1A534927-F510-B948-8185-15987BC9ADC3}" srcOrd="0" destOrd="0" presId="urn:microsoft.com/office/officeart/2005/8/layout/list1"/>
    <dgm:cxn modelId="{CB297FF4-F21E-C344-BD31-CFBE1B5D3AAB}" type="presOf" srcId="{6B458109-086C-4297-A6B5-B22D99522515}" destId="{B809423D-D7C1-CD47-81B2-5B2D165F503E}" srcOrd="0" destOrd="0" presId="urn:microsoft.com/office/officeart/2005/8/layout/list1"/>
    <dgm:cxn modelId="{B415DFFD-047B-C447-960F-E0933F72B3DD}" type="presOf" srcId="{F33E014E-8482-469B-A80B-8571F923CC86}" destId="{65CF4BAA-344A-3C40-A03E-2C62678CA326}" srcOrd="1" destOrd="0" presId="urn:microsoft.com/office/officeart/2005/8/layout/list1"/>
    <dgm:cxn modelId="{81294F39-21E0-794C-A69E-34AA69AA1F26}" type="presParOf" srcId="{CF274A76-1825-2B47-B9A0-3C2DC329F64C}" destId="{052AB96E-9DE3-8944-944F-B6E25795CD6E}" srcOrd="0" destOrd="0" presId="urn:microsoft.com/office/officeart/2005/8/layout/list1"/>
    <dgm:cxn modelId="{8CC603D8-F268-FB46-86F4-C582EBE1BB80}" type="presParOf" srcId="{052AB96E-9DE3-8944-944F-B6E25795CD6E}" destId="{1A534927-F510-B948-8185-15987BC9ADC3}" srcOrd="0" destOrd="0" presId="urn:microsoft.com/office/officeart/2005/8/layout/list1"/>
    <dgm:cxn modelId="{72A4C8AD-8926-694B-8997-BA38F1AF3E5B}" type="presParOf" srcId="{052AB96E-9DE3-8944-944F-B6E25795CD6E}" destId="{65CF4BAA-344A-3C40-A03E-2C62678CA326}" srcOrd="1" destOrd="0" presId="urn:microsoft.com/office/officeart/2005/8/layout/list1"/>
    <dgm:cxn modelId="{EE654AB9-4243-134D-A8BF-DB689CCC23D9}" type="presParOf" srcId="{CF274A76-1825-2B47-B9A0-3C2DC329F64C}" destId="{0F4339DB-3F91-394E-8408-C278C593471A}" srcOrd="1" destOrd="0" presId="urn:microsoft.com/office/officeart/2005/8/layout/list1"/>
    <dgm:cxn modelId="{A95E5898-D742-BF49-9CFB-E57BEEE90E23}" type="presParOf" srcId="{CF274A76-1825-2B47-B9A0-3C2DC329F64C}" destId="{B809423D-D7C1-CD47-81B2-5B2D165F503E}" srcOrd="2" destOrd="0" presId="urn:microsoft.com/office/officeart/2005/8/layout/list1"/>
    <dgm:cxn modelId="{1DA3A76D-AB3B-5A4A-8AEF-331D9FA07A2A}" type="presParOf" srcId="{CF274A76-1825-2B47-B9A0-3C2DC329F64C}" destId="{B0FF9897-E6D6-1E46-8F5A-3298960A8DFB}" srcOrd="3" destOrd="0" presId="urn:microsoft.com/office/officeart/2005/8/layout/list1"/>
    <dgm:cxn modelId="{081E7B17-06AA-DC40-847A-8E9783CFAFD8}" type="presParOf" srcId="{CF274A76-1825-2B47-B9A0-3C2DC329F64C}" destId="{AFA68057-1244-014C-84F4-C067CAFA57D5}" srcOrd="4" destOrd="0" presId="urn:microsoft.com/office/officeart/2005/8/layout/list1"/>
    <dgm:cxn modelId="{5C093BFD-C9FE-F144-8B19-0D59E12B08CA}" type="presParOf" srcId="{AFA68057-1244-014C-84F4-C067CAFA57D5}" destId="{F2D0C23D-5421-4344-9137-A7096F167DA8}" srcOrd="0" destOrd="0" presId="urn:microsoft.com/office/officeart/2005/8/layout/list1"/>
    <dgm:cxn modelId="{1059456C-4CC0-CD49-8223-43974E44A4A6}" type="presParOf" srcId="{AFA68057-1244-014C-84F4-C067CAFA57D5}" destId="{C6D6C7CC-DE7B-5B41-9D2D-C0A872836C46}" srcOrd="1" destOrd="0" presId="urn:microsoft.com/office/officeart/2005/8/layout/list1"/>
    <dgm:cxn modelId="{D33BEC30-4C74-BB48-9BF6-52F08068D784}" type="presParOf" srcId="{CF274A76-1825-2B47-B9A0-3C2DC329F64C}" destId="{BC3991B8-5BFB-154A-8979-F076238756A4}" srcOrd="5" destOrd="0" presId="urn:microsoft.com/office/officeart/2005/8/layout/list1"/>
    <dgm:cxn modelId="{942A6494-2954-AE4A-A6C7-94E3E97AE4D8}" type="presParOf" srcId="{CF274A76-1825-2B47-B9A0-3C2DC329F64C}" destId="{57752A03-A9C4-7A49-B3BF-1E35AE58E309}" srcOrd="6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8C2F4B3-90D6-4814-891D-5B6073B7FFCB}" type="doc">
      <dgm:prSet loTypeId="urn:microsoft.com/office/officeart/2005/8/layout/vList2" loCatId="list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en-US"/>
        </a:p>
      </dgm:t>
    </dgm:pt>
    <dgm:pt modelId="{F5E26E53-F2B4-4C48-9A27-2F051339B76C}">
      <dgm:prSet custT="1"/>
      <dgm:spPr>
        <a:solidFill>
          <a:schemeClr val="accent6">
            <a:lumMod val="40000"/>
            <a:lumOff val="60000"/>
          </a:schemeClr>
        </a:solidFill>
      </dgm:spPr>
      <dgm:t>
        <a:bodyPr/>
        <a:lstStyle/>
        <a:p>
          <a:r>
            <a:rPr lang="en-US" sz="2400" dirty="0">
              <a:solidFill>
                <a:srgbClr val="000000"/>
              </a:solidFill>
            </a:rPr>
            <a:t>Strong in </a:t>
          </a:r>
          <a:r>
            <a:rPr lang="en-US" sz="2400" dirty="0" err="1">
              <a:solidFill>
                <a:srgbClr val="000000"/>
              </a:solidFill>
            </a:rPr>
            <a:t>favour</a:t>
          </a:r>
          <a:r>
            <a:rPr lang="en-US" sz="2400" dirty="0">
              <a:solidFill>
                <a:srgbClr val="000000"/>
              </a:solidFill>
            </a:rPr>
            <a:t> </a:t>
          </a:r>
          <a:r>
            <a:rPr lang="en-US" sz="2400" dirty="0">
              <a:solidFill>
                <a:srgbClr val="000000"/>
              </a:solidFill>
              <a:sym typeface="Wingdings" panose="05000000000000000000" pitchFamily="2" charset="2"/>
            </a:rPr>
            <a:t></a:t>
          </a:r>
          <a:r>
            <a:rPr lang="en-US" sz="2400" dirty="0">
              <a:solidFill>
                <a:srgbClr val="000000"/>
              </a:solidFill>
            </a:rPr>
            <a:t> Almost all informed patients would choose to have the intervention </a:t>
          </a:r>
        </a:p>
      </dgm:t>
    </dgm:pt>
    <dgm:pt modelId="{9E204871-7E6D-49AE-A57A-61884480B58D}" type="parTrans" cxnId="{3FF9E611-01D8-49B1-9155-1CD8597A8107}">
      <dgm:prSet/>
      <dgm:spPr/>
      <dgm:t>
        <a:bodyPr/>
        <a:lstStyle/>
        <a:p>
          <a:endParaRPr lang="en-US" sz="1800"/>
        </a:p>
      </dgm:t>
    </dgm:pt>
    <dgm:pt modelId="{F15B0CDA-FF9D-4E7C-9BE8-E627FAFA99E2}" type="sibTrans" cxnId="{3FF9E611-01D8-49B1-9155-1CD8597A8107}">
      <dgm:prSet/>
      <dgm:spPr/>
      <dgm:t>
        <a:bodyPr/>
        <a:lstStyle/>
        <a:p>
          <a:endParaRPr lang="en-US" sz="1800"/>
        </a:p>
      </dgm:t>
    </dgm:pt>
    <dgm:pt modelId="{049E529D-8A1C-487E-AF7A-15C02C0379B3}">
      <dgm:prSet custT="1"/>
      <dgm:spPr>
        <a:solidFill>
          <a:schemeClr val="accent6">
            <a:lumMod val="20000"/>
            <a:lumOff val="80000"/>
          </a:schemeClr>
        </a:solidFill>
      </dgm:spPr>
      <dgm:t>
        <a:bodyPr/>
        <a:lstStyle/>
        <a:p>
          <a:r>
            <a:rPr lang="en-US" sz="2400" dirty="0">
              <a:solidFill>
                <a:srgbClr val="000000"/>
              </a:solidFill>
            </a:rPr>
            <a:t>Conditional in </a:t>
          </a:r>
          <a:r>
            <a:rPr lang="en-US" sz="2400" dirty="0" err="1">
              <a:solidFill>
                <a:srgbClr val="000000"/>
              </a:solidFill>
            </a:rPr>
            <a:t>favour</a:t>
          </a:r>
          <a:r>
            <a:rPr lang="en-US" sz="2400" dirty="0">
              <a:solidFill>
                <a:srgbClr val="000000"/>
              </a:solidFill>
            </a:rPr>
            <a:t> </a:t>
          </a:r>
          <a:r>
            <a:rPr lang="en-US" sz="2400" dirty="0">
              <a:solidFill>
                <a:srgbClr val="000000"/>
              </a:solidFill>
              <a:sym typeface="Wingdings" panose="05000000000000000000" pitchFamily="2" charset="2"/>
            </a:rPr>
            <a:t></a:t>
          </a:r>
          <a:r>
            <a:rPr lang="en-US" sz="2400" dirty="0">
              <a:solidFill>
                <a:srgbClr val="000000"/>
              </a:solidFill>
            </a:rPr>
            <a:t> A majority of informed patients would choose to have the intervention, but many would not</a:t>
          </a:r>
        </a:p>
      </dgm:t>
    </dgm:pt>
    <dgm:pt modelId="{C20EDCB1-6410-4E4E-AA15-33E2A462C86E}" type="parTrans" cxnId="{4F65B68C-793D-4C20-9106-5ED5BF655969}">
      <dgm:prSet/>
      <dgm:spPr/>
      <dgm:t>
        <a:bodyPr/>
        <a:lstStyle/>
        <a:p>
          <a:endParaRPr lang="en-US" sz="1800"/>
        </a:p>
      </dgm:t>
    </dgm:pt>
    <dgm:pt modelId="{33636037-A286-40A2-AD9A-843733093873}" type="sibTrans" cxnId="{4F65B68C-793D-4C20-9106-5ED5BF655969}">
      <dgm:prSet/>
      <dgm:spPr/>
      <dgm:t>
        <a:bodyPr/>
        <a:lstStyle/>
        <a:p>
          <a:endParaRPr lang="en-US" sz="1800"/>
        </a:p>
      </dgm:t>
    </dgm:pt>
    <dgm:pt modelId="{BA55A247-8F73-4BF5-AC1E-5F2237A4FE7B}">
      <dgm:prSet custT="1"/>
      <dgm:spPr>
        <a:solidFill>
          <a:schemeClr val="accent2">
            <a:lumMod val="20000"/>
            <a:lumOff val="80000"/>
          </a:schemeClr>
        </a:solidFill>
      </dgm:spPr>
      <dgm:t>
        <a:bodyPr/>
        <a:lstStyle/>
        <a:p>
          <a:r>
            <a:rPr lang="en-US" sz="2400" dirty="0">
              <a:solidFill>
                <a:srgbClr val="000000"/>
              </a:solidFill>
            </a:rPr>
            <a:t>Conditional against </a:t>
          </a:r>
          <a:r>
            <a:rPr lang="en-US" sz="2400" dirty="0">
              <a:solidFill>
                <a:srgbClr val="000000"/>
              </a:solidFill>
              <a:sym typeface="Wingdings" panose="05000000000000000000" pitchFamily="2" charset="2"/>
            </a:rPr>
            <a:t></a:t>
          </a:r>
          <a:r>
            <a:rPr lang="en-US" sz="2400" dirty="0">
              <a:solidFill>
                <a:srgbClr val="000000"/>
              </a:solidFill>
            </a:rPr>
            <a:t> A majority of informed patients would choose not to have the intervention, but many would</a:t>
          </a:r>
        </a:p>
      </dgm:t>
    </dgm:pt>
    <dgm:pt modelId="{CA5948DD-8F8F-4866-9A23-AC448C677625}" type="parTrans" cxnId="{78794099-82E7-417D-B734-ED7D76FCBBBF}">
      <dgm:prSet/>
      <dgm:spPr/>
      <dgm:t>
        <a:bodyPr/>
        <a:lstStyle/>
        <a:p>
          <a:endParaRPr lang="en-US" sz="1800"/>
        </a:p>
      </dgm:t>
    </dgm:pt>
    <dgm:pt modelId="{C2F4C094-2573-4AAF-90DB-080C2BE23B74}" type="sibTrans" cxnId="{78794099-82E7-417D-B734-ED7D76FCBBBF}">
      <dgm:prSet/>
      <dgm:spPr/>
      <dgm:t>
        <a:bodyPr/>
        <a:lstStyle/>
        <a:p>
          <a:endParaRPr lang="en-US" sz="1800"/>
        </a:p>
      </dgm:t>
    </dgm:pt>
    <dgm:pt modelId="{DEE7C5B2-7D47-4943-9DB9-4557F55F4FCD}">
      <dgm:prSet custT="1"/>
      <dgm:spPr>
        <a:solidFill>
          <a:schemeClr val="accent2">
            <a:lumMod val="60000"/>
            <a:lumOff val="40000"/>
          </a:schemeClr>
        </a:solidFill>
      </dgm:spPr>
      <dgm:t>
        <a:bodyPr/>
        <a:lstStyle/>
        <a:p>
          <a:r>
            <a:rPr lang="en-US" sz="2400" dirty="0">
              <a:solidFill>
                <a:srgbClr val="000000"/>
              </a:solidFill>
            </a:rPr>
            <a:t>Strong against </a:t>
          </a:r>
          <a:r>
            <a:rPr lang="en-US" sz="2400" dirty="0">
              <a:solidFill>
                <a:srgbClr val="000000"/>
              </a:solidFill>
              <a:sym typeface="Wingdings" panose="05000000000000000000" pitchFamily="2" charset="2"/>
            </a:rPr>
            <a:t></a:t>
          </a:r>
          <a:r>
            <a:rPr lang="en-US" sz="2400" dirty="0">
              <a:solidFill>
                <a:srgbClr val="000000"/>
              </a:solidFill>
            </a:rPr>
            <a:t> Almost all informed patients would choose not to have the intervention </a:t>
          </a:r>
        </a:p>
      </dgm:t>
    </dgm:pt>
    <dgm:pt modelId="{5F6E91BC-9227-4FA6-96BF-3373E61690E5}" type="parTrans" cxnId="{84AEE7DB-B2A8-42B8-BFF2-CAE2B319FCD3}">
      <dgm:prSet/>
      <dgm:spPr/>
      <dgm:t>
        <a:bodyPr/>
        <a:lstStyle/>
        <a:p>
          <a:endParaRPr lang="en-US" sz="1800"/>
        </a:p>
      </dgm:t>
    </dgm:pt>
    <dgm:pt modelId="{B8E57E7E-C4D8-49AB-B973-CA7F7C6C0801}" type="sibTrans" cxnId="{84AEE7DB-B2A8-42B8-BFF2-CAE2B319FCD3}">
      <dgm:prSet/>
      <dgm:spPr/>
      <dgm:t>
        <a:bodyPr/>
        <a:lstStyle/>
        <a:p>
          <a:endParaRPr lang="en-US" sz="1800"/>
        </a:p>
      </dgm:t>
    </dgm:pt>
    <dgm:pt modelId="{B44B08F5-304C-B94D-8168-039591D2AD3F}" type="pres">
      <dgm:prSet presAssocID="{58C2F4B3-90D6-4814-891D-5B6073B7FFCB}" presName="linear" presStyleCnt="0">
        <dgm:presLayoutVars>
          <dgm:animLvl val="lvl"/>
          <dgm:resizeHandles val="exact"/>
        </dgm:presLayoutVars>
      </dgm:prSet>
      <dgm:spPr/>
    </dgm:pt>
    <dgm:pt modelId="{20D02DBB-F1E3-D640-8B62-85CE351C0E98}" type="pres">
      <dgm:prSet presAssocID="{F5E26E53-F2B4-4C48-9A27-2F051339B76C}" presName="parentText" presStyleLbl="node1" presStyleIdx="0" presStyleCnt="4">
        <dgm:presLayoutVars>
          <dgm:chMax val="0"/>
          <dgm:bulletEnabled val="1"/>
        </dgm:presLayoutVars>
      </dgm:prSet>
      <dgm:spPr/>
    </dgm:pt>
    <dgm:pt modelId="{22306FAB-6234-CA44-9ACD-C7CE64722773}" type="pres">
      <dgm:prSet presAssocID="{F15B0CDA-FF9D-4E7C-9BE8-E627FAFA99E2}" presName="spacer" presStyleCnt="0"/>
      <dgm:spPr/>
    </dgm:pt>
    <dgm:pt modelId="{FE69D0D1-DD31-D442-BB6A-1CEF375C02B6}" type="pres">
      <dgm:prSet presAssocID="{049E529D-8A1C-487E-AF7A-15C02C0379B3}" presName="parentText" presStyleLbl="node1" presStyleIdx="1" presStyleCnt="4" custLinFactNeighborX="-2222" custLinFactNeighborY="85992">
        <dgm:presLayoutVars>
          <dgm:chMax val="0"/>
          <dgm:bulletEnabled val="1"/>
        </dgm:presLayoutVars>
      </dgm:prSet>
      <dgm:spPr/>
    </dgm:pt>
    <dgm:pt modelId="{1FE5C67C-7E07-1647-AB2D-63FB6250E0D3}" type="pres">
      <dgm:prSet presAssocID="{33636037-A286-40A2-AD9A-843733093873}" presName="spacer" presStyleCnt="0"/>
      <dgm:spPr/>
    </dgm:pt>
    <dgm:pt modelId="{1BC93F14-4C41-0348-8CF4-C40CE80DFCB5}" type="pres">
      <dgm:prSet presAssocID="{BA55A247-8F73-4BF5-AC1E-5F2237A4FE7B}" presName="parentText" presStyleLbl="node1" presStyleIdx="2" presStyleCnt="4">
        <dgm:presLayoutVars>
          <dgm:chMax val="0"/>
          <dgm:bulletEnabled val="1"/>
        </dgm:presLayoutVars>
      </dgm:prSet>
      <dgm:spPr/>
    </dgm:pt>
    <dgm:pt modelId="{F5DBDE56-94AB-604F-AE09-CFF83B8E959C}" type="pres">
      <dgm:prSet presAssocID="{C2F4C094-2573-4AAF-90DB-080C2BE23B74}" presName="spacer" presStyleCnt="0"/>
      <dgm:spPr/>
    </dgm:pt>
    <dgm:pt modelId="{19D76E8E-08AF-5144-9F41-C673D122CE59}" type="pres">
      <dgm:prSet presAssocID="{DEE7C5B2-7D47-4943-9DB9-4557F55F4FCD}" presName="parentText" presStyleLbl="node1" presStyleIdx="3" presStyleCnt="4">
        <dgm:presLayoutVars>
          <dgm:chMax val="0"/>
          <dgm:bulletEnabled val="1"/>
        </dgm:presLayoutVars>
      </dgm:prSet>
      <dgm:spPr/>
    </dgm:pt>
  </dgm:ptLst>
  <dgm:cxnLst>
    <dgm:cxn modelId="{3FF9E611-01D8-49B1-9155-1CD8597A8107}" srcId="{58C2F4B3-90D6-4814-891D-5B6073B7FFCB}" destId="{F5E26E53-F2B4-4C48-9A27-2F051339B76C}" srcOrd="0" destOrd="0" parTransId="{9E204871-7E6D-49AE-A57A-61884480B58D}" sibTransId="{F15B0CDA-FF9D-4E7C-9BE8-E627FAFA99E2}"/>
    <dgm:cxn modelId="{1B7E0A40-4017-D945-9F0B-4EE615CFA118}" type="presOf" srcId="{F5E26E53-F2B4-4C48-9A27-2F051339B76C}" destId="{20D02DBB-F1E3-D640-8B62-85CE351C0E98}" srcOrd="0" destOrd="0" presId="urn:microsoft.com/office/officeart/2005/8/layout/vList2"/>
    <dgm:cxn modelId="{502BAD75-BF76-1340-A6A1-D1EAF7612FA0}" type="presOf" srcId="{BA55A247-8F73-4BF5-AC1E-5F2237A4FE7B}" destId="{1BC93F14-4C41-0348-8CF4-C40CE80DFCB5}" srcOrd="0" destOrd="0" presId="urn:microsoft.com/office/officeart/2005/8/layout/vList2"/>
    <dgm:cxn modelId="{4F65B68C-793D-4C20-9106-5ED5BF655969}" srcId="{58C2F4B3-90D6-4814-891D-5B6073B7FFCB}" destId="{049E529D-8A1C-487E-AF7A-15C02C0379B3}" srcOrd="1" destOrd="0" parTransId="{C20EDCB1-6410-4E4E-AA15-33E2A462C86E}" sibTransId="{33636037-A286-40A2-AD9A-843733093873}"/>
    <dgm:cxn modelId="{78794099-82E7-417D-B734-ED7D76FCBBBF}" srcId="{58C2F4B3-90D6-4814-891D-5B6073B7FFCB}" destId="{BA55A247-8F73-4BF5-AC1E-5F2237A4FE7B}" srcOrd="2" destOrd="0" parTransId="{CA5948DD-8F8F-4866-9A23-AC448C677625}" sibTransId="{C2F4C094-2573-4AAF-90DB-080C2BE23B74}"/>
    <dgm:cxn modelId="{0CF772A5-AA08-B142-B194-87B3D08BDA9E}" type="presOf" srcId="{049E529D-8A1C-487E-AF7A-15C02C0379B3}" destId="{FE69D0D1-DD31-D442-BB6A-1CEF375C02B6}" srcOrd="0" destOrd="0" presId="urn:microsoft.com/office/officeart/2005/8/layout/vList2"/>
    <dgm:cxn modelId="{AF2EE4AF-89B6-CA42-90F7-CCA0E4D2E4C9}" type="presOf" srcId="{DEE7C5B2-7D47-4943-9DB9-4557F55F4FCD}" destId="{19D76E8E-08AF-5144-9F41-C673D122CE59}" srcOrd="0" destOrd="0" presId="urn:microsoft.com/office/officeart/2005/8/layout/vList2"/>
    <dgm:cxn modelId="{C97DAEB3-2EDA-EB41-92FB-EB6E119E672D}" type="presOf" srcId="{58C2F4B3-90D6-4814-891D-5B6073B7FFCB}" destId="{B44B08F5-304C-B94D-8168-039591D2AD3F}" srcOrd="0" destOrd="0" presId="urn:microsoft.com/office/officeart/2005/8/layout/vList2"/>
    <dgm:cxn modelId="{84AEE7DB-B2A8-42B8-BFF2-CAE2B319FCD3}" srcId="{58C2F4B3-90D6-4814-891D-5B6073B7FFCB}" destId="{DEE7C5B2-7D47-4943-9DB9-4557F55F4FCD}" srcOrd="3" destOrd="0" parTransId="{5F6E91BC-9227-4FA6-96BF-3373E61690E5}" sibTransId="{B8E57E7E-C4D8-49AB-B973-CA7F7C6C0801}"/>
    <dgm:cxn modelId="{1E4A260F-64EF-C04A-98CA-7460F80204CE}" type="presParOf" srcId="{B44B08F5-304C-B94D-8168-039591D2AD3F}" destId="{20D02DBB-F1E3-D640-8B62-85CE351C0E98}" srcOrd="0" destOrd="0" presId="urn:microsoft.com/office/officeart/2005/8/layout/vList2"/>
    <dgm:cxn modelId="{0620B431-AF2B-7748-B975-6372EC04991D}" type="presParOf" srcId="{B44B08F5-304C-B94D-8168-039591D2AD3F}" destId="{22306FAB-6234-CA44-9ACD-C7CE64722773}" srcOrd="1" destOrd="0" presId="urn:microsoft.com/office/officeart/2005/8/layout/vList2"/>
    <dgm:cxn modelId="{9C671610-9790-8842-A6A7-0C4E034BA6A8}" type="presParOf" srcId="{B44B08F5-304C-B94D-8168-039591D2AD3F}" destId="{FE69D0D1-DD31-D442-BB6A-1CEF375C02B6}" srcOrd="2" destOrd="0" presId="urn:microsoft.com/office/officeart/2005/8/layout/vList2"/>
    <dgm:cxn modelId="{80457C35-3FF0-064B-8BDF-2E50555D9806}" type="presParOf" srcId="{B44B08F5-304C-B94D-8168-039591D2AD3F}" destId="{1FE5C67C-7E07-1647-AB2D-63FB6250E0D3}" srcOrd="3" destOrd="0" presId="urn:microsoft.com/office/officeart/2005/8/layout/vList2"/>
    <dgm:cxn modelId="{D5CED6DE-58FA-B44D-96EA-B8BE31455A0A}" type="presParOf" srcId="{B44B08F5-304C-B94D-8168-039591D2AD3F}" destId="{1BC93F14-4C41-0348-8CF4-C40CE80DFCB5}" srcOrd="4" destOrd="0" presId="urn:microsoft.com/office/officeart/2005/8/layout/vList2"/>
    <dgm:cxn modelId="{D168A4CD-BE4F-744C-9816-DBD32847723D}" type="presParOf" srcId="{B44B08F5-304C-B94D-8168-039591D2AD3F}" destId="{F5DBDE56-94AB-604F-AE09-CFF83B8E959C}" srcOrd="5" destOrd="0" presId="urn:microsoft.com/office/officeart/2005/8/layout/vList2"/>
    <dgm:cxn modelId="{0F4D3F30-8932-F54D-A310-7B46B4E3CD5B}" type="presParOf" srcId="{B44B08F5-304C-B94D-8168-039591D2AD3F}" destId="{19D76E8E-08AF-5144-9F41-C673D122CE59}" srcOrd="6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809423D-D7C1-CD47-81B2-5B2D165F503E}">
      <dsp:nvSpPr>
        <dsp:cNvPr id="0" name=""/>
        <dsp:cNvSpPr/>
      </dsp:nvSpPr>
      <dsp:spPr>
        <a:xfrm>
          <a:off x="0" y="349118"/>
          <a:ext cx="11407487" cy="1386000"/>
        </a:xfrm>
        <a:prstGeom prst="rect">
          <a:avLst/>
        </a:prstGeom>
        <a:solidFill>
          <a:schemeClr val="accent6">
            <a:lumMod val="20000"/>
            <a:lumOff val="80000"/>
            <a:alpha val="9000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5348" tIns="458216" rIns="885348" bIns="170688" numCol="1" spcCol="1270" anchor="t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Système normal"/>
            <a:buChar char="-"/>
          </a:pPr>
          <a:r>
            <a:rPr lang="en-US" sz="2400" kern="1200" dirty="0">
              <a:solidFill>
                <a:srgbClr val="000000"/>
              </a:solidFill>
            </a:rPr>
            <a:t>Benefits clearly outweigh risks/hassle/cost, </a:t>
          </a:r>
          <a:r>
            <a:rPr lang="en-US" sz="2400" i="1" kern="1200" dirty="0">
              <a:solidFill>
                <a:srgbClr val="000000"/>
              </a:solidFill>
            </a:rPr>
            <a:t>OR</a:t>
          </a:r>
          <a:endParaRPr lang="en-US" sz="2400" kern="1200" dirty="0">
            <a:solidFill>
              <a:srgbClr val="000000"/>
            </a:solidFill>
          </a:endParaRP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Système normal"/>
            <a:buChar char="-"/>
          </a:pPr>
          <a:r>
            <a:rPr lang="en-US" sz="2400" kern="1200" dirty="0">
              <a:solidFill>
                <a:srgbClr val="000000"/>
              </a:solidFill>
            </a:rPr>
            <a:t>Risk/hassle/cost clearly outweighs benefit</a:t>
          </a:r>
        </a:p>
      </dsp:txBody>
      <dsp:txXfrm>
        <a:off x="0" y="349118"/>
        <a:ext cx="11407487" cy="1386000"/>
      </dsp:txXfrm>
    </dsp:sp>
    <dsp:sp modelId="{65CF4BAA-344A-3C40-A03E-2C62678CA326}">
      <dsp:nvSpPr>
        <dsp:cNvPr id="0" name=""/>
        <dsp:cNvSpPr/>
      </dsp:nvSpPr>
      <dsp:spPr>
        <a:xfrm>
          <a:off x="548651" y="24398"/>
          <a:ext cx="10847348" cy="64944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1823" tIns="0" rIns="301823" bIns="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>
              <a:solidFill>
                <a:srgbClr val="000000"/>
              </a:solidFill>
            </a:rPr>
            <a:t>What makes a strong recommendation? ‘We recommend…’</a:t>
          </a:r>
        </a:p>
      </dsp:txBody>
      <dsp:txXfrm>
        <a:off x="580354" y="56101"/>
        <a:ext cx="10783942" cy="586034"/>
      </dsp:txXfrm>
    </dsp:sp>
    <dsp:sp modelId="{57752A03-A9C4-7A49-B3BF-1E35AE58E309}">
      <dsp:nvSpPr>
        <dsp:cNvPr id="0" name=""/>
        <dsp:cNvSpPr/>
      </dsp:nvSpPr>
      <dsp:spPr>
        <a:xfrm>
          <a:off x="0" y="2178639"/>
          <a:ext cx="11407487" cy="2148300"/>
        </a:xfrm>
        <a:prstGeom prst="rect">
          <a:avLst/>
        </a:prstGeom>
        <a:solidFill>
          <a:schemeClr val="accent2">
            <a:lumMod val="20000"/>
            <a:lumOff val="80000"/>
            <a:alpha val="9000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5348" tIns="458216" rIns="885348" bIns="170688" numCol="1" spcCol="1270" anchor="t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Système normal"/>
            <a:buChar char="-"/>
          </a:pPr>
          <a:r>
            <a:rPr lang="en-US" sz="2400" kern="1200" dirty="0">
              <a:solidFill>
                <a:srgbClr val="000000"/>
              </a:solidFill>
            </a:rPr>
            <a:t>Close balance between up and downsides (benefits/harms)</a:t>
          </a: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Système normal"/>
            <a:buChar char="-"/>
          </a:pPr>
          <a:r>
            <a:rPr lang="en-US" sz="2400" kern="1200" dirty="0">
              <a:solidFill>
                <a:srgbClr val="000000"/>
              </a:solidFill>
            </a:rPr>
            <a:t>Values and preferences</a:t>
          </a: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Système normal"/>
            <a:buChar char="-"/>
          </a:pPr>
          <a:r>
            <a:rPr lang="en-US" sz="2400" kern="1200" dirty="0">
              <a:solidFill>
                <a:srgbClr val="000000"/>
              </a:solidFill>
            </a:rPr>
            <a:t>Costs, practical limitations</a:t>
          </a: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Système normal"/>
            <a:buChar char="-"/>
          </a:pPr>
          <a:r>
            <a:rPr lang="en-US" sz="2400" kern="1200" dirty="0">
              <a:solidFill>
                <a:srgbClr val="000000"/>
              </a:solidFill>
            </a:rPr>
            <a:t>Low certainty evidence </a:t>
          </a:r>
        </a:p>
      </dsp:txBody>
      <dsp:txXfrm>
        <a:off x="0" y="2178639"/>
        <a:ext cx="11407487" cy="2148300"/>
      </dsp:txXfrm>
    </dsp:sp>
    <dsp:sp modelId="{C6D6C7CC-DE7B-5B41-9D2D-C0A872836C46}">
      <dsp:nvSpPr>
        <dsp:cNvPr id="0" name=""/>
        <dsp:cNvSpPr/>
      </dsp:nvSpPr>
      <dsp:spPr>
        <a:xfrm>
          <a:off x="543081" y="1853919"/>
          <a:ext cx="10861610" cy="64944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1823" tIns="0" rIns="301823" bIns="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>
              <a:solidFill>
                <a:srgbClr val="000000"/>
              </a:solidFill>
            </a:rPr>
            <a:t>What can downgrade strength to a conditional recommendation?  ‘We suggest…’</a:t>
          </a:r>
        </a:p>
      </dsp:txBody>
      <dsp:txXfrm>
        <a:off x="574784" y="1885622"/>
        <a:ext cx="10798204" cy="58603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0D02DBB-F1E3-D640-8B62-85CE351C0E98}">
      <dsp:nvSpPr>
        <dsp:cNvPr id="0" name=""/>
        <dsp:cNvSpPr/>
      </dsp:nvSpPr>
      <dsp:spPr>
        <a:xfrm>
          <a:off x="0" y="4149"/>
          <a:ext cx="11937999" cy="973440"/>
        </a:xfrm>
        <a:prstGeom prst="roundRect">
          <a:avLst/>
        </a:prstGeom>
        <a:solidFill>
          <a:schemeClr val="accent6">
            <a:lumMod val="40000"/>
            <a:lumOff val="60000"/>
          </a:schemeClr>
        </a:solidFill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>
              <a:solidFill>
                <a:srgbClr val="000000"/>
              </a:solidFill>
            </a:rPr>
            <a:t>Strong in </a:t>
          </a:r>
          <a:r>
            <a:rPr lang="en-US" sz="2400" kern="1200" dirty="0" err="1">
              <a:solidFill>
                <a:srgbClr val="000000"/>
              </a:solidFill>
            </a:rPr>
            <a:t>favour</a:t>
          </a:r>
          <a:r>
            <a:rPr lang="en-US" sz="2400" kern="1200" dirty="0">
              <a:solidFill>
                <a:srgbClr val="000000"/>
              </a:solidFill>
            </a:rPr>
            <a:t> </a:t>
          </a:r>
          <a:r>
            <a:rPr lang="en-US" sz="2400" kern="1200" dirty="0">
              <a:solidFill>
                <a:srgbClr val="000000"/>
              </a:solidFill>
              <a:sym typeface="Wingdings" panose="05000000000000000000" pitchFamily="2" charset="2"/>
            </a:rPr>
            <a:t></a:t>
          </a:r>
          <a:r>
            <a:rPr lang="en-US" sz="2400" kern="1200" dirty="0">
              <a:solidFill>
                <a:srgbClr val="000000"/>
              </a:solidFill>
            </a:rPr>
            <a:t> Almost all informed patients would choose to have the intervention </a:t>
          </a:r>
        </a:p>
      </dsp:txBody>
      <dsp:txXfrm>
        <a:off x="47519" y="51668"/>
        <a:ext cx="11842961" cy="878402"/>
      </dsp:txXfrm>
    </dsp:sp>
    <dsp:sp modelId="{FE69D0D1-DD31-D442-BB6A-1CEF375C02B6}">
      <dsp:nvSpPr>
        <dsp:cNvPr id="0" name=""/>
        <dsp:cNvSpPr/>
      </dsp:nvSpPr>
      <dsp:spPr>
        <a:xfrm>
          <a:off x="0" y="1256130"/>
          <a:ext cx="11937999" cy="973440"/>
        </a:xfrm>
        <a:prstGeom prst="roundRect">
          <a:avLst/>
        </a:prstGeom>
        <a:solidFill>
          <a:schemeClr val="accent6">
            <a:lumMod val="20000"/>
            <a:lumOff val="80000"/>
          </a:schemeClr>
        </a:solidFill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>
              <a:solidFill>
                <a:srgbClr val="000000"/>
              </a:solidFill>
            </a:rPr>
            <a:t>Conditional in </a:t>
          </a:r>
          <a:r>
            <a:rPr lang="en-US" sz="2400" kern="1200" dirty="0" err="1">
              <a:solidFill>
                <a:srgbClr val="000000"/>
              </a:solidFill>
            </a:rPr>
            <a:t>favour</a:t>
          </a:r>
          <a:r>
            <a:rPr lang="en-US" sz="2400" kern="1200" dirty="0">
              <a:solidFill>
                <a:srgbClr val="000000"/>
              </a:solidFill>
            </a:rPr>
            <a:t> </a:t>
          </a:r>
          <a:r>
            <a:rPr lang="en-US" sz="2400" kern="1200" dirty="0">
              <a:solidFill>
                <a:srgbClr val="000000"/>
              </a:solidFill>
              <a:sym typeface="Wingdings" panose="05000000000000000000" pitchFamily="2" charset="2"/>
            </a:rPr>
            <a:t></a:t>
          </a:r>
          <a:r>
            <a:rPr lang="en-US" sz="2400" kern="1200" dirty="0">
              <a:solidFill>
                <a:srgbClr val="000000"/>
              </a:solidFill>
            </a:rPr>
            <a:t> A majority of informed patients would choose to have the intervention, but many would not</a:t>
          </a:r>
        </a:p>
      </dsp:txBody>
      <dsp:txXfrm>
        <a:off x="47519" y="1303649"/>
        <a:ext cx="11842961" cy="878402"/>
      </dsp:txXfrm>
    </dsp:sp>
    <dsp:sp modelId="{1BC93F14-4C41-0348-8CF4-C40CE80DFCB5}">
      <dsp:nvSpPr>
        <dsp:cNvPr id="0" name=""/>
        <dsp:cNvSpPr/>
      </dsp:nvSpPr>
      <dsp:spPr>
        <a:xfrm>
          <a:off x="0" y="2250549"/>
          <a:ext cx="11937999" cy="973440"/>
        </a:xfrm>
        <a:prstGeom prst="roundRect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>
              <a:solidFill>
                <a:srgbClr val="000000"/>
              </a:solidFill>
            </a:rPr>
            <a:t>Conditional against </a:t>
          </a:r>
          <a:r>
            <a:rPr lang="en-US" sz="2400" kern="1200" dirty="0">
              <a:solidFill>
                <a:srgbClr val="000000"/>
              </a:solidFill>
              <a:sym typeface="Wingdings" panose="05000000000000000000" pitchFamily="2" charset="2"/>
            </a:rPr>
            <a:t></a:t>
          </a:r>
          <a:r>
            <a:rPr lang="en-US" sz="2400" kern="1200" dirty="0">
              <a:solidFill>
                <a:srgbClr val="000000"/>
              </a:solidFill>
            </a:rPr>
            <a:t> A majority of informed patients would choose not to have the intervention, but many would</a:t>
          </a:r>
        </a:p>
      </dsp:txBody>
      <dsp:txXfrm>
        <a:off x="47519" y="2298068"/>
        <a:ext cx="11842961" cy="878402"/>
      </dsp:txXfrm>
    </dsp:sp>
    <dsp:sp modelId="{19D76E8E-08AF-5144-9F41-C673D122CE59}">
      <dsp:nvSpPr>
        <dsp:cNvPr id="0" name=""/>
        <dsp:cNvSpPr/>
      </dsp:nvSpPr>
      <dsp:spPr>
        <a:xfrm>
          <a:off x="0" y="3373749"/>
          <a:ext cx="11937999" cy="973440"/>
        </a:xfrm>
        <a:prstGeom prst="roundRect">
          <a:avLst/>
        </a:prstGeom>
        <a:solidFill>
          <a:schemeClr val="accent2">
            <a:lumMod val="60000"/>
            <a:lumOff val="40000"/>
          </a:schemeClr>
        </a:solidFill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>
              <a:solidFill>
                <a:srgbClr val="000000"/>
              </a:solidFill>
            </a:rPr>
            <a:t>Strong against </a:t>
          </a:r>
          <a:r>
            <a:rPr lang="en-US" sz="2400" kern="1200" dirty="0">
              <a:solidFill>
                <a:srgbClr val="000000"/>
              </a:solidFill>
              <a:sym typeface="Wingdings" panose="05000000000000000000" pitchFamily="2" charset="2"/>
            </a:rPr>
            <a:t></a:t>
          </a:r>
          <a:r>
            <a:rPr lang="en-US" sz="2400" kern="1200" dirty="0">
              <a:solidFill>
                <a:srgbClr val="000000"/>
              </a:solidFill>
            </a:rPr>
            <a:t> Almost all informed patients would choose not to have the intervention </a:t>
          </a:r>
        </a:p>
      </dsp:txBody>
      <dsp:txXfrm>
        <a:off x="47519" y="3421268"/>
        <a:ext cx="11842961" cy="87840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png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9F6F7346-AB1D-4AAD-9AFE-F094EE83820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1AC66CE-97CB-4045-8017-0CA9DE6C20CF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AF7A213-8644-42E8-8CBB-73BF5CD7A7B3}" type="datetimeFigureOut">
              <a:rPr lang="en-US" smtClean="0"/>
              <a:t>8/19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97F79A4-7069-4FD2-9B3E-160129F6ED0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2DBF12B-09DF-4B33-9776-233F49C8BE4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0CBD359-2863-45E4-BE7C-D10EA831C2A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961829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872D19F-43D8-4197-B7B2-301FCCEDD087}" type="datetimeFigureOut">
              <a:rPr lang="en-US" smtClean="0"/>
              <a:t>8/19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00305DE-5237-49FA-9A5E-078442E73C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44405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00305DE-5237-49FA-9A5E-078442E73CFD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697083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00305DE-5237-49FA-9A5E-078442E73CFD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84290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1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3.jpe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855693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6675B5BE-1D22-4060-A1E8-A67668853E7F}"/>
              </a:ext>
            </a:extLst>
          </p:cNvPr>
          <p:cNvSpPr/>
          <p:nvPr userDrawn="1"/>
        </p:nvSpPr>
        <p:spPr bwMode="gray">
          <a:xfrm>
            <a:off x="2699656" y="870857"/>
            <a:ext cx="9492344" cy="453934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3" y="1624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3" y="1624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48A2E0C-4DC8-4CD2-A123-649317E5B18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846285" y="1903716"/>
            <a:ext cx="7696701" cy="135421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lnSpc>
                <a:spcPct val="100000"/>
              </a:lnSpc>
              <a:defRPr lang="x-none" sz="4400" b="1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846285" y="3437788"/>
            <a:ext cx="7696701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FontTx/>
              <a:buNone/>
              <a:defRPr lang="x-none" sz="2001" cap="none" baseline="0">
                <a:solidFill>
                  <a:schemeClr val="tx1"/>
                </a:solidFill>
                <a:latin typeface="+mj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</a:p>
        </p:txBody>
      </p:sp>
      <p:sp>
        <p:nvSpPr>
          <p:cNvPr id="24" name="Document type" hidden="1"/>
          <p:cNvSpPr txBox="1">
            <a:spLocks noChangeArrowheads="1"/>
          </p:cNvSpPr>
          <p:nvPr/>
        </p:nvSpPr>
        <p:spPr bwMode="gray">
          <a:xfrm>
            <a:off x="3846286" y="4335545"/>
            <a:ext cx="7520812" cy="246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600" baseline="0" noProof="0" dirty="0">
                <a:solidFill>
                  <a:schemeClr val="tx1"/>
                </a:solidFill>
                <a:latin typeface="+mn-lt"/>
              </a:rPr>
              <a:t>Document</a:t>
            </a:r>
          </a:p>
        </p:txBody>
      </p:sp>
      <p:sp>
        <p:nvSpPr>
          <p:cNvPr id="25" name="Date" hidden="1"/>
          <p:cNvSpPr txBox="1">
            <a:spLocks noChangeArrowheads="1"/>
          </p:cNvSpPr>
          <p:nvPr/>
        </p:nvSpPr>
        <p:spPr bwMode="gray">
          <a:xfrm>
            <a:off x="3846286" y="4641933"/>
            <a:ext cx="7520812" cy="246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600" baseline="0" noProof="0" dirty="0">
                <a:solidFill>
                  <a:schemeClr val="tx1"/>
                </a:solidFill>
                <a:latin typeface="+mn-lt"/>
              </a:rPr>
              <a:t>Dat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F446AC8-9F05-47D8-967B-4948A7D620B6}"/>
              </a:ext>
            </a:extLst>
          </p:cNvPr>
          <p:cNvSpPr>
            <a:spLocks/>
          </p:cNvSpPr>
          <p:nvPr userDrawn="1"/>
        </p:nvSpPr>
        <p:spPr bwMode="gray">
          <a:xfrm>
            <a:off x="0" y="-27384"/>
            <a:ext cx="3556000" cy="59927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E36C2570-EE6B-4565-AD75-B52E65403955}"/>
              </a:ext>
            </a:extLst>
          </p:cNvPr>
          <p:cNvGrpSpPr/>
          <p:nvPr userDrawn="1"/>
        </p:nvGrpSpPr>
        <p:grpSpPr bwMode="gray">
          <a:xfrm>
            <a:off x="9066230" y="6150623"/>
            <a:ext cx="2515543" cy="569706"/>
            <a:chOff x="5525840" y="3530278"/>
            <a:chExt cx="1886657" cy="569706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577EC048-F3B9-4475-B855-081554A6C555}"/>
                </a:ext>
              </a:extLst>
            </p:cNvPr>
            <p:cNvSpPr txBox="1"/>
            <p:nvPr/>
          </p:nvSpPr>
          <p:spPr bwMode="gray">
            <a:xfrm>
              <a:off x="5540240" y="3530278"/>
              <a:ext cx="1872257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GB" sz="1000" cap="all" dirty="0">
                  <a:solidFill>
                    <a:srgbClr val="1E7FB8"/>
                  </a:solidFill>
                  <a:latin typeface="Corbel" panose="020B0503020204020204" pitchFamily="34" charset="0"/>
                  <a:cs typeface="+mn-cs"/>
                </a:rPr>
                <a:t>Health</a:t>
              </a:r>
            </a:p>
          </p:txBody>
        </p: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F2AC1C6A-A970-442F-8AA9-F0118482BF79}"/>
                </a:ext>
              </a:extLst>
            </p:cNvPr>
            <p:cNvGrpSpPr/>
            <p:nvPr/>
          </p:nvGrpSpPr>
          <p:grpSpPr bwMode="gray">
            <a:xfrm>
              <a:off x="5525840" y="3618320"/>
              <a:ext cx="1879457" cy="481664"/>
              <a:chOff x="5525840" y="3618320"/>
              <a:chExt cx="1879457" cy="481664"/>
            </a:xfrm>
          </p:grpSpPr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A8830331-61EC-45A0-BC05-93F4169FC707}"/>
                  </a:ext>
                </a:extLst>
              </p:cNvPr>
              <p:cNvSpPr txBox="1"/>
              <p:nvPr/>
            </p:nvSpPr>
            <p:spPr bwMode="gray">
              <a:xfrm>
                <a:off x="6494240" y="3838374"/>
                <a:ext cx="889168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spc="-80" dirty="0">
                    <a:solidFill>
                      <a:srgbClr val="1E7FB8"/>
                    </a:solidFill>
                    <a:latin typeface="Corbel" panose="020B0503020204020204" pitchFamily="34" charset="0"/>
                    <a:cs typeface="+mn-cs"/>
                  </a:rPr>
                  <a:t>programme</a:t>
                </a:r>
              </a:p>
            </p:txBody>
          </p:sp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FB75CD6E-20E4-40B1-A7A3-D05DC8E9E321}"/>
                  </a:ext>
                </a:extLst>
              </p:cNvPr>
              <p:cNvSpPr txBox="1"/>
              <p:nvPr/>
            </p:nvSpPr>
            <p:spPr bwMode="gray">
              <a:xfrm>
                <a:off x="5525840" y="3618320"/>
                <a:ext cx="1879457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2000" b="1" cap="all" spc="-80" dirty="0">
                    <a:solidFill>
                      <a:srgbClr val="1E7FB8"/>
                    </a:solidFill>
                    <a:latin typeface="Leelawadee" panose="020B0502040204020203" pitchFamily="34" charset="-34"/>
                    <a:ea typeface="Lato Heavy" panose="020F0502020204030203" pitchFamily="34" charset="0"/>
                    <a:cs typeface="Leelawadee" panose="020B0502040204020203" pitchFamily="34" charset="-34"/>
                  </a:rPr>
                  <a:t>emergencies</a:t>
                </a:r>
              </a:p>
            </p:txBody>
          </p:sp>
        </p:grpSp>
      </p:grpSp>
      <p:sp>
        <p:nvSpPr>
          <p:cNvPr id="18" name="Rectangle 17">
            <a:extLst>
              <a:ext uri="{FF2B5EF4-FFF2-40B4-BE49-F238E27FC236}">
                <a16:creationId xmlns:a16="http://schemas.microsoft.com/office/drawing/2014/main" id="{84A738D0-C560-4C29-94CE-95B6221F6386}"/>
              </a:ext>
            </a:extLst>
          </p:cNvPr>
          <p:cNvSpPr/>
          <p:nvPr userDrawn="1"/>
        </p:nvSpPr>
        <p:spPr bwMode="gray">
          <a:xfrm>
            <a:off x="2699656" y="870857"/>
            <a:ext cx="856344" cy="4539343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17" name="Picture 412">
            <a:extLst>
              <a:ext uri="{FF2B5EF4-FFF2-40B4-BE49-F238E27FC236}">
                <a16:creationId xmlns:a16="http://schemas.microsoft.com/office/drawing/2014/main" id="{3D210E88-E4FB-45EE-96E0-589249D28ED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393" y="6108274"/>
            <a:ext cx="1991988" cy="6083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773503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1">
          <p15:clr>
            <a:srgbClr val="FBAE40"/>
          </p15:clr>
        </p15:guide>
        <p15:guide id="3">
          <p15:clr>
            <a:srgbClr val="FBAE40"/>
          </p15:clr>
        </p15:guide>
        <p15:guide id="4" pos="5767">
          <p15:clr>
            <a:srgbClr val="FBAE40"/>
          </p15:clr>
        </p15:guide>
        <p15:guide id="5" pos="567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461DD4-5587-48E5-8C26-43D6A849F2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F9B5354-DBC3-4E05-876C-3A54DEA474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CB31EE-D044-4979-AD8F-9B93CD8B5A95}" type="datetimeFigureOut">
              <a:rPr lang="en-US" smtClean="0"/>
              <a:t>8/19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E176135-DF6D-4075-ABFC-5684653627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03A837-D6A7-4F43-8047-3A7D0AF246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ACF3DA-43C5-4A0C-9C87-FC240173BEB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69355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647794-2BC7-C848-901F-8C462F9476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A251D04-C8B9-1B46-A0FA-628F0EFCA7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FC3D601-23AA-5247-9A7A-8E54C58E7A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680FC3-CCDB-0C42-B346-60E2A0E6098F}" type="datetimeFigureOut">
              <a:rPr lang="de-DE" smtClean="0"/>
              <a:t>19.08.2022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AC15AFE-0E00-D940-917F-BB634CDB5E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510A243-6DFC-A147-852F-CD9A613A49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2B72B8-1EE2-D945-B40B-545228F2790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1600071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55ECFF-3503-6344-8ADD-C94BC87113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AC857DE-9FE9-E54E-8E81-184998C5826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96FB094-B726-3448-AFEF-A1894E7FF0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680FC3-CCDB-0C42-B346-60E2A0E6098F}" type="datetimeFigureOut">
              <a:rPr lang="de-DE" smtClean="0"/>
              <a:t>19.08.2022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73A13B2-B07E-E74C-A1B7-4BC8537348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507A425-1179-C24D-8F77-D200E63C44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2B72B8-1EE2-D945-B40B-545228F2790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10810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E7160D-2367-7543-9E93-EB2CB98906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6A59137-08F0-FE45-8BDC-B1EE57602A6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CE04DB-A0F2-1040-AD28-6C8F0DAADF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680FC3-CCDB-0C42-B346-60E2A0E6098F}" type="datetimeFigureOut">
              <a:rPr lang="de-DE" smtClean="0"/>
              <a:t>19.08.2022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8F4A017-63CA-534E-A4F6-984DFA3ECC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ACE37A1-F00C-CE4E-90A4-8848C483C4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2B72B8-1EE2-D945-B40B-545228F2790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0921308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DF3839-5460-E243-9FC9-25DF4043EC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4A846F-603D-BC43-BB27-8F25526E147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36F47CE-988F-CC42-9360-F5E1F9B651D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40FAB3A-1E93-1B48-9D2D-567149E6E8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680FC3-CCDB-0C42-B346-60E2A0E6098F}" type="datetimeFigureOut">
              <a:rPr lang="de-DE" smtClean="0"/>
              <a:t>19.08.2022</a:t>
            </a:fld>
            <a:endParaRPr lang="de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5391DC0-3788-3748-8D1E-C665A034DB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30C0F49-B651-0C4C-9DA0-E36AF4FF35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2B72B8-1EE2-D945-B40B-545228F2790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2564065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512182-C482-704C-B0F0-218792377F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92BCCDF-3D7E-D043-B98C-5080C573FBA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BE7C9AF-095E-124A-B549-1B67033DCA8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459483A-FF62-BE44-BD7E-898611B07E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05043F3-A5BB-7B45-8037-248C4DCB64B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C41970D-8D24-3E49-A287-C0B5D6979F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680FC3-CCDB-0C42-B346-60E2A0E6098F}" type="datetimeFigureOut">
              <a:rPr lang="de-DE" smtClean="0"/>
              <a:t>19.08.2022</a:t>
            </a:fld>
            <a:endParaRPr lang="de-DE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6958217-F4B2-C746-8362-1D0284AD15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B77B689-D178-DB47-A7E3-FD6B1A5E79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2B72B8-1EE2-D945-B40B-545228F2790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2139813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851C10-0A59-3343-B3B4-AB6DB85B0C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1608605-8847-DB43-974D-1191EA0EE5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680FC3-CCDB-0C42-B346-60E2A0E6098F}" type="datetimeFigureOut">
              <a:rPr lang="de-DE" smtClean="0"/>
              <a:t>19.08.2022</a:t>
            </a:fld>
            <a:endParaRPr lang="de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557A801-C397-354C-A011-7BF80746DF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7C1290D-F263-1E43-B00B-5D87BED3AE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2B72B8-1EE2-D945-B40B-545228F2790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43758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06370AC-1A6F-0846-8885-3205DD9B92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680FC3-CCDB-0C42-B346-60E2A0E6098F}" type="datetimeFigureOut">
              <a:rPr lang="de-DE" smtClean="0"/>
              <a:t>19.08.2022</a:t>
            </a:fld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8DE6F00-9BEB-0744-9B03-F95F28CE50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5A81944-3DB1-C545-AF9D-FED6947685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2B72B8-1EE2-D945-B40B-545228F2790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6094857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0F2717-A8F6-164E-AE77-B2A721C60A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AC424FE-6537-0446-BB14-A20561D5C22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7358411-B8DF-6749-A0D1-EBD288B3918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A3531A4-647D-1040-9705-BBA6A91596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680FC3-CCDB-0C42-B346-60E2A0E6098F}" type="datetimeFigureOut">
              <a:rPr lang="de-DE" smtClean="0"/>
              <a:t>19.08.2022</a:t>
            </a:fld>
            <a:endParaRPr lang="de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BFFC131-5A19-5F4A-BACF-BC7101CC67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BA46DA9-C3E5-9A47-88FA-7514074822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2B72B8-1EE2-D945-B40B-545228F2790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859767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C9A5EE-7283-F846-8B0B-FD10D05400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28825" y="0"/>
            <a:ext cx="9413109" cy="842963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FEE7FAB-67A7-BA46-97AA-66A06E453F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028825" y="1177289"/>
            <a:ext cx="9413110" cy="47752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01963077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AACA08-B514-844E-A7D7-95C0468835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9D79D4B-A6B3-B74E-9807-FB6D4AB0458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0EDB07E-B699-8943-BD00-9935D97CCC0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662C531-AF1B-AD4E-A776-063641288C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680FC3-CCDB-0C42-B346-60E2A0E6098F}" type="datetimeFigureOut">
              <a:rPr lang="de-DE" smtClean="0"/>
              <a:t>19.08.2022</a:t>
            </a:fld>
            <a:endParaRPr lang="de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7BB6EB4-99AC-1D49-B11D-0BFC1C898B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FDBD389-B690-4E46-87F5-0144A996A8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2B72B8-1EE2-D945-B40B-545228F2790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4155055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B78325-9230-1448-A6BF-5AA849FB60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EA22A38-8D18-BB4A-B092-AD3E2FF4440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6BA5F7A-7FC6-334B-9389-20CF551700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680FC3-CCDB-0C42-B346-60E2A0E6098F}" type="datetimeFigureOut">
              <a:rPr lang="de-DE" smtClean="0"/>
              <a:t>19.08.2022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D21D4E-EEAB-DF49-A48A-EF06A10226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97097DF-2646-E242-B42E-F7F26ED5B2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2B72B8-1EE2-D945-B40B-545228F2790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00944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A139805-E14C-234D-8E4E-86FB1E375C7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B90EFE2-CB36-1546-B663-027789E6F19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5751584-9519-C942-ACBB-D59F51E507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680FC3-CCDB-0C42-B346-60E2A0E6098F}" type="datetimeFigureOut">
              <a:rPr lang="de-DE" smtClean="0"/>
              <a:t>19.08.2022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D3937DD-2260-E540-9C98-5047ECBD22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FDCE298-3C68-134A-A079-23625898CE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2B72B8-1EE2-D945-B40B-545228F2790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228682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C7AEFE-6B9D-774D-9642-EC0B86C4B3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71688" y="1428750"/>
            <a:ext cx="9275762" cy="2200275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800" b="0" i="0">
                <a:solidFill>
                  <a:srgbClr val="303A5F"/>
                </a:solidFill>
                <a:latin typeface="Helvetica Neue Thin" panose="020B0403020202020204" pitchFamily="34" charset="0"/>
                <a:ea typeface="Helvetica Neue Thin" panose="020B0403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AC8EC94-3370-874E-9765-9039C119B8E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071688" y="3729038"/>
            <a:ext cx="9275762" cy="212633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 i="0" cap="all" baseline="0">
                <a:solidFill>
                  <a:srgbClr val="4EC4CF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789064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9A58DB-E625-994A-BB30-4B0DCB9E06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14538" y="46149"/>
            <a:ext cx="9339261" cy="75395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7709607-D059-E741-9D66-6394CC64F79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014539" y="1228726"/>
            <a:ext cx="9444398" cy="4661712"/>
          </a:xfrm>
          <a:prstGeom prst="rect">
            <a:avLst/>
          </a:prstGeom>
        </p:spPr>
        <p:txBody>
          <a:bodyPr numCol="2" spcCol="360000"/>
          <a:lstStyle>
            <a:lvl1pPr>
              <a:defRPr/>
            </a:lvl1pPr>
            <a:lvl2pPr>
              <a:defRPr/>
            </a:lvl2pPr>
            <a:lvl3pPr>
              <a:defRPr/>
            </a:lvl3pPr>
            <a:lvl4pPr marL="180000" indent="0">
              <a:buFontTx/>
              <a:buNone/>
              <a:defRPr b="0" i="0">
                <a:latin typeface="Helvetica Neue Light" panose="02000403000000020004" pitchFamily="2" charset="0"/>
                <a:ea typeface="Helvetica Neue Light" panose="02000403000000020004" pitchFamily="2" charset="0"/>
              </a:defRPr>
            </a:lvl4pPr>
            <a:lvl5pPr marL="180000" indent="0">
              <a:buFontTx/>
              <a:buNone/>
              <a:defRPr sz="1600" b="0" i="0">
                <a:latin typeface="Helvetica Neue Light" panose="02000403000000020004" pitchFamily="2" charset="0"/>
                <a:ea typeface="Helvetica Neue Light" panose="02000403000000020004" pitchFamily="2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4"/>
            <a:endParaRPr lang="en-US" dirty="0"/>
          </a:p>
          <a:p>
            <a:pPr lvl="4"/>
            <a:endParaRPr lang="en-US" dirty="0"/>
          </a:p>
          <a:p>
            <a:pPr lvl="4"/>
            <a:endParaRPr lang="en-US" dirty="0"/>
          </a:p>
          <a:p>
            <a:pPr lvl="4"/>
            <a:endParaRPr lang="en-US" dirty="0"/>
          </a:p>
          <a:p>
            <a:pPr lvl="4"/>
            <a:endParaRPr lang="en-US" dirty="0"/>
          </a:p>
          <a:p>
            <a:pPr lvl="4"/>
            <a:endParaRPr lang="en-US" dirty="0"/>
          </a:p>
          <a:p>
            <a:pPr lvl="4"/>
            <a:endParaRPr lang="en-US" dirty="0"/>
          </a:p>
          <a:p>
            <a:pPr lvl="4"/>
            <a:endParaRPr lang="en-US" dirty="0"/>
          </a:p>
          <a:p>
            <a:pPr lvl="4"/>
            <a:endParaRPr lang="en-US" dirty="0"/>
          </a:p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4"/>
            <a:endParaRPr lang="en-US" dirty="0"/>
          </a:p>
          <a:p>
            <a:pPr lvl="4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086107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4976AE-90DE-124B-A216-A784A8372B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14538" y="112295"/>
            <a:ext cx="9458325" cy="702093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A05B8B5-8767-E048-935F-14562A76A4C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014538" y="1200150"/>
            <a:ext cx="9458325" cy="320040"/>
          </a:xfrm>
          <a:prstGeom prst="rect">
            <a:avLst/>
          </a:prstGeom>
        </p:spPr>
        <p:txBody>
          <a:bodyPr numCol="2" spcCol="360000" anchor="t"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600"/>
              </a:spcBef>
              <a:spcAft>
                <a:spcPts val="0"/>
              </a:spcAft>
              <a:buClrTx/>
              <a:buSzPct val="113000"/>
              <a:buFont typeface="Arial" panose="020B0604020202020204" pitchFamily="34" charset="0"/>
              <a:buNone/>
              <a:tabLst/>
              <a:defRPr sz="2400" b="0" i="0">
                <a:solidFill>
                  <a:srgbClr val="303A5F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600"/>
              </a:spcBef>
              <a:spcAft>
                <a:spcPts val="0"/>
              </a:spcAft>
              <a:buClrTx/>
              <a:buSzPct val="113000"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Edit Master text styles</a:t>
            </a:r>
          </a:p>
          <a:p>
            <a:pPr lvl="0"/>
            <a:endParaRPr lang="en-US" dirty="0"/>
          </a:p>
          <a:p>
            <a:pPr lvl="0"/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986899D-BFC6-2049-A25D-899E38375CE4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2014538" y="1634491"/>
            <a:ext cx="9458325" cy="4151948"/>
          </a:xfrm>
          <a:prstGeom prst="rect">
            <a:avLst/>
          </a:prstGeom>
        </p:spPr>
        <p:txBody>
          <a:bodyPr numCol="2" spcCol="360000"/>
          <a:lstStyle>
            <a:lvl2pPr marL="180000" indent="-180000">
              <a:buFont typeface="Arial" panose="020B0604020202020204" pitchFamily="34" charset="0"/>
              <a:buChar char="•"/>
              <a:defRPr/>
            </a:lvl2pPr>
            <a:lvl3pPr marL="360000">
              <a:defRPr sz="1600"/>
            </a:lvl3pPr>
          </a:lstStyle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2"/>
            <a:endParaRPr lang="en-US" dirty="0"/>
          </a:p>
          <a:p>
            <a:pPr lvl="2"/>
            <a:endParaRPr lang="en-US" dirty="0"/>
          </a:p>
          <a:p>
            <a:pPr lvl="2"/>
            <a:endParaRPr lang="en-US" dirty="0"/>
          </a:p>
          <a:p>
            <a:pPr lvl="2"/>
            <a:endParaRPr lang="en-US" dirty="0"/>
          </a:p>
          <a:p>
            <a:pPr lvl="2"/>
            <a:endParaRPr lang="en-US" dirty="0"/>
          </a:p>
          <a:p>
            <a:pPr lvl="2"/>
            <a:endParaRPr lang="en-US" dirty="0"/>
          </a:p>
          <a:p>
            <a:pPr lvl="2"/>
            <a:endParaRPr lang="en-US" dirty="0"/>
          </a:p>
          <a:p>
            <a:pPr lvl="2"/>
            <a:endParaRPr lang="en-US" dirty="0"/>
          </a:p>
          <a:p>
            <a:pPr lvl="2"/>
            <a:endParaRPr lang="en-US" dirty="0"/>
          </a:p>
          <a:p>
            <a:pPr lvl="2"/>
            <a:endParaRPr lang="en-US" dirty="0"/>
          </a:p>
          <a:p>
            <a:pPr lvl="2"/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2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96659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F43D29-9D75-1D4C-9904-4324E1FCC0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23110" y="75593"/>
            <a:ext cx="9519875" cy="75879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  <a:endParaRPr lang="de-DE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C8066C64-001C-9741-917B-D4CB50A02EAE}"/>
              </a:ext>
            </a:extLst>
          </p:cNvPr>
          <p:cNvGrpSpPr/>
          <p:nvPr userDrawn="1"/>
        </p:nvGrpSpPr>
        <p:grpSpPr bwMode="gray">
          <a:xfrm>
            <a:off x="9066230" y="6150623"/>
            <a:ext cx="2515543" cy="569706"/>
            <a:chOff x="5525840" y="3530278"/>
            <a:chExt cx="1886657" cy="569706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12C4A495-B0E9-BB43-A76E-7F6C73CF2D34}"/>
                </a:ext>
              </a:extLst>
            </p:cNvPr>
            <p:cNvSpPr txBox="1"/>
            <p:nvPr/>
          </p:nvSpPr>
          <p:spPr bwMode="gray">
            <a:xfrm>
              <a:off x="5540240" y="3530278"/>
              <a:ext cx="1872257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GB" sz="1000" cap="all">
                  <a:solidFill>
                    <a:srgbClr val="1E7FB8"/>
                  </a:solidFill>
                  <a:latin typeface="Corbel" panose="020B0503020204020204" pitchFamily="34" charset="0"/>
                  <a:cs typeface="+mn-cs"/>
                </a:rPr>
                <a:t>Health</a:t>
              </a:r>
            </a:p>
          </p:txBody>
        </p: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0056DE78-EBBB-9D4E-986E-C8FF116FE40A}"/>
                </a:ext>
              </a:extLst>
            </p:cNvPr>
            <p:cNvGrpSpPr/>
            <p:nvPr/>
          </p:nvGrpSpPr>
          <p:grpSpPr bwMode="gray">
            <a:xfrm>
              <a:off x="5525840" y="3618320"/>
              <a:ext cx="1879457" cy="481664"/>
              <a:chOff x="5525840" y="3618320"/>
              <a:chExt cx="1879457" cy="481664"/>
            </a:xfrm>
          </p:grpSpPr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43078EB1-78DA-8F40-9A62-B7A14B1879F0}"/>
                  </a:ext>
                </a:extLst>
              </p:cNvPr>
              <p:cNvSpPr txBox="1"/>
              <p:nvPr/>
            </p:nvSpPr>
            <p:spPr bwMode="gray">
              <a:xfrm>
                <a:off x="5525840" y="3618320"/>
                <a:ext cx="1879457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2000" b="1" cap="all" spc="-80">
                    <a:solidFill>
                      <a:srgbClr val="1E7FB8"/>
                    </a:solidFill>
                    <a:latin typeface="Leelawadee" panose="020B0502040204020203" pitchFamily="34" charset="-34"/>
                    <a:ea typeface="Lato Heavy" panose="020F0502020204030203" pitchFamily="34" charset="0"/>
                    <a:cs typeface="Leelawadee" panose="020B0502040204020203" pitchFamily="34" charset="-34"/>
                  </a:rPr>
                  <a:t>emergencies</a:t>
                </a:r>
              </a:p>
            </p:txBody>
          </p:sp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18C06611-33A1-2240-99FD-DEFAC6ABDA6E}"/>
                  </a:ext>
                </a:extLst>
              </p:cNvPr>
              <p:cNvSpPr txBox="1"/>
              <p:nvPr/>
            </p:nvSpPr>
            <p:spPr bwMode="gray">
              <a:xfrm>
                <a:off x="6494240" y="3838374"/>
                <a:ext cx="889168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spc="-80">
                    <a:solidFill>
                      <a:srgbClr val="1E7FB8"/>
                    </a:solidFill>
                    <a:latin typeface="Corbel" panose="020B0503020204020204" pitchFamily="34" charset="0"/>
                    <a:cs typeface="+mn-cs"/>
                  </a:rPr>
                  <a:t>programme</a:t>
                </a:r>
              </a:p>
            </p:txBody>
          </p:sp>
        </p:grpSp>
      </p:grp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78E3E3A-869A-A44B-AE84-265E30ADB4DE}"/>
              </a:ext>
            </a:extLst>
          </p:cNvPr>
          <p:cNvCxnSpPr/>
          <p:nvPr userDrawn="1"/>
        </p:nvCxnSpPr>
        <p:spPr bwMode="gray">
          <a:xfrm>
            <a:off x="-12288" y="6021288"/>
            <a:ext cx="12204288" cy="0"/>
          </a:xfrm>
          <a:prstGeom prst="line">
            <a:avLst/>
          </a:prstGeom>
          <a:ln w="25400">
            <a:solidFill>
              <a:srgbClr val="303A5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412">
            <a:extLst>
              <a:ext uri="{FF2B5EF4-FFF2-40B4-BE49-F238E27FC236}">
                <a16:creationId xmlns:a16="http://schemas.microsoft.com/office/drawing/2014/main" id="{D5C5C517-4A04-DE41-AB6F-2C6A01549C9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3393" y="6108274"/>
            <a:ext cx="1991988" cy="6083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Oval 14">
            <a:extLst>
              <a:ext uri="{FF2B5EF4-FFF2-40B4-BE49-F238E27FC236}">
                <a16:creationId xmlns:a16="http://schemas.microsoft.com/office/drawing/2014/main" id="{BB7FA15F-3406-5747-A5C5-AC4E0347DB3C}"/>
              </a:ext>
            </a:extLst>
          </p:cNvPr>
          <p:cNvSpPr/>
          <p:nvPr userDrawn="1"/>
        </p:nvSpPr>
        <p:spPr>
          <a:xfrm>
            <a:off x="11378004" y="6454588"/>
            <a:ext cx="204396" cy="204396"/>
          </a:xfrm>
          <a:prstGeom prst="ellipse">
            <a:avLst/>
          </a:prstGeom>
          <a:solidFill>
            <a:srgbClr val="C2AFC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de-DE" sz="1600">
              <a:solidFill>
                <a:srgbClr val="C2AFC6"/>
              </a:solidFill>
            </a:endParaRP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A60D849B-6F8F-3F47-A105-1A27245E02EA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325529" y="6472437"/>
            <a:ext cx="309346" cy="16398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algn="ctr"/>
            <a:fld id="{42C328C1-A84F-4A39-A664-DBA00541A8C6}" type="slidenum">
              <a:rPr lang="en-US" sz="1000" b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‹#›</a:t>
            </a:fld>
            <a:endParaRPr lang="en-US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946DE6A4-DC97-7F46-B434-4C5B9C94E7F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2624160" y="1782320"/>
            <a:ext cx="360320" cy="36032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C78CEBEE-F02F-594D-B8A1-7E936E6FBA5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10127" y="6068311"/>
            <a:ext cx="1667801" cy="684139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039B5162-FE30-D34D-B2D3-72CB6D425181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2624160" y="2446064"/>
            <a:ext cx="2501900" cy="2133600"/>
          </a:xfrm>
          <a:prstGeom prst="rect">
            <a:avLst/>
          </a:prstGeom>
        </p:spPr>
      </p:pic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0AC5678B-B7AE-8C41-8D6E-F23FF3C970B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023110" y="1051767"/>
            <a:ext cx="10180465" cy="493499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838851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EA08C187-F55E-4246-8458-2A50476D6C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11680" y="112295"/>
            <a:ext cx="10025991" cy="722096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983388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6A323B-BAA8-F948-A220-560EAD57A6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23110" y="128337"/>
            <a:ext cx="9486401" cy="717484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200">
                <a:solidFill>
                  <a:srgbClr val="9A1D55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7863FE2-FE80-E044-8238-CFD374844A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023110" y="1177290"/>
            <a:ext cx="9486402" cy="4743394"/>
          </a:xfrm>
          <a:prstGeom prst="rect">
            <a:avLst/>
          </a:prstGeom>
        </p:spPr>
        <p:txBody>
          <a:bodyPr/>
          <a:lstStyle>
            <a:lvl1pPr marL="180000" indent="-180000">
              <a:lnSpc>
                <a:spcPts val="1800"/>
              </a:lnSpc>
              <a:spcBef>
                <a:spcPts val="600"/>
              </a:spcBef>
              <a:buClr>
                <a:srgbClr val="9A1D55"/>
              </a:buClr>
              <a:defRPr sz="2400">
                <a:solidFill>
                  <a:srgbClr val="303A5F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360000" indent="-180000">
              <a:lnSpc>
                <a:spcPts val="1800"/>
              </a:lnSpc>
              <a:spcBef>
                <a:spcPts val="600"/>
              </a:spcBef>
              <a:buClr>
                <a:srgbClr val="4EC4CF"/>
              </a:buClr>
              <a:buFont typeface="Symbol" pitchFamily="2" charset="2"/>
              <a:buChar char="-"/>
              <a:defRPr sz="1800">
                <a:solidFill>
                  <a:srgbClr val="303A5F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540000" indent="-180000">
              <a:lnSpc>
                <a:spcPts val="1800"/>
              </a:lnSpc>
              <a:spcBef>
                <a:spcPts val="600"/>
              </a:spcBef>
              <a:buClr>
                <a:srgbClr val="303A5F"/>
              </a:buClr>
              <a:buFont typeface="Arial" panose="020B0604020202020204" pitchFamily="34" charset="0"/>
              <a:buChar char="•"/>
              <a:defRPr sz="1800">
                <a:solidFill>
                  <a:srgbClr val="303A5F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3pPr>
            <a:lvl4pPr marL="720000" indent="-180000">
              <a:lnSpc>
                <a:spcPts val="1800"/>
              </a:lnSpc>
              <a:spcBef>
                <a:spcPts val="600"/>
              </a:spcBef>
              <a:buClr>
                <a:srgbClr val="4EC4CF"/>
              </a:buClr>
              <a:buFont typeface="Arial" panose="020B0604020202020204" pitchFamily="34" charset="0"/>
              <a:buChar char="•"/>
              <a:defRPr sz="1600">
                <a:solidFill>
                  <a:srgbClr val="303A5F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900000" indent="-180000">
              <a:lnSpc>
                <a:spcPts val="1800"/>
              </a:lnSpc>
              <a:spcBef>
                <a:spcPts val="600"/>
              </a:spcBef>
              <a:buClr>
                <a:srgbClr val="9A1D55"/>
              </a:buClr>
              <a:defRPr sz="1400">
                <a:solidFill>
                  <a:srgbClr val="303A5F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584524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4F4CC5-6E03-C244-8BCE-A75E719917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23110" y="171450"/>
            <a:ext cx="9406114" cy="65151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200">
                <a:solidFill>
                  <a:srgbClr val="303A5F"/>
                </a:solidFill>
              </a:defRPr>
            </a:lvl1pPr>
          </a:lstStyle>
          <a:p>
            <a:br>
              <a:rPr lang="en-US" dirty="0"/>
            </a:br>
            <a:r>
              <a:rPr lang="en-US" dirty="0"/>
              <a:t>Click to edit Master title style</a:t>
            </a:r>
            <a:br>
              <a:rPr lang="en-US" dirty="0"/>
            </a:br>
            <a:endParaRPr lang="de-DE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175AAE-0B1A-3345-80CD-045A1634D29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2023110" y="1154430"/>
            <a:ext cx="3915465" cy="471455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0" i="0">
                <a:solidFill>
                  <a:srgbClr val="303A5F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0"/>
            <a:endParaRPr lang="en-US" dirty="0"/>
          </a:p>
          <a:p>
            <a:pPr lvl="0"/>
            <a:endParaRPr lang="en-US" dirty="0"/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DA0158B-E282-DF40-9138-4B8DFFD70445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6103621" y="1154430"/>
            <a:ext cx="5346258" cy="47145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875479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5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4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EB90591-2118-7146-BA4A-20255505BBE0}"/>
              </a:ext>
            </a:extLst>
          </p:cNvPr>
          <p:cNvSpPr/>
          <p:nvPr userDrawn="1"/>
        </p:nvSpPr>
        <p:spPr>
          <a:xfrm flipV="1">
            <a:off x="2010701" y="912565"/>
            <a:ext cx="10421770" cy="45719"/>
          </a:xfrm>
          <a:prstGeom prst="rect">
            <a:avLst/>
          </a:prstGeom>
          <a:solidFill>
            <a:srgbClr val="94D6DE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94D6DE"/>
              </a:solidFill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7349EB94-A34D-7740-AB37-2C24610CCC52}"/>
              </a:ext>
            </a:extLst>
          </p:cNvPr>
          <p:cNvGrpSpPr/>
          <p:nvPr userDrawn="1"/>
        </p:nvGrpSpPr>
        <p:grpSpPr bwMode="gray">
          <a:xfrm>
            <a:off x="9066230" y="6150623"/>
            <a:ext cx="2515543" cy="569706"/>
            <a:chOff x="5525840" y="3530278"/>
            <a:chExt cx="1886657" cy="569706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70F9D473-15A3-DE4A-914D-C5767F2CED4F}"/>
                </a:ext>
              </a:extLst>
            </p:cNvPr>
            <p:cNvSpPr txBox="1"/>
            <p:nvPr/>
          </p:nvSpPr>
          <p:spPr bwMode="gray">
            <a:xfrm>
              <a:off x="5540240" y="3530278"/>
              <a:ext cx="1872257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GB" sz="1000" cap="all">
                  <a:solidFill>
                    <a:srgbClr val="1E7FB8"/>
                  </a:solidFill>
                  <a:latin typeface="Corbel" panose="020B0503020204020204" pitchFamily="34" charset="0"/>
                  <a:cs typeface="+mn-cs"/>
                </a:rPr>
                <a:t>Health</a:t>
              </a:r>
            </a:p>
          </p:txBody>
        </p: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C2FC5664-80CD-4B4B-8DCD-E4DBBDA7490B}"/>
                </a:ext>
              </a:extLst>
            </p:cNvPr>
            <p:cNvGrpSpPr/>
            <p:nvPr/>
          </p:nvGrpSpPr>
          <p:grpSpPr bwMode="gray">
            <a:xfrm>
              <a:off x="5525840" y="3618320"/>
              <a:ext cx="1879457" cy="481664"/>
              <a:chOff x="5525840" y="3618320"/>
              <a:chExt cx="1879457" cy="481664"/>
            </a:xfrm>
          </p:grpSpPr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2A707F99-8329-F14A-A470-78654D629280}"/>
                  </a:ext>
                </a:extLst>
              </p:cNvPr>
              <p:cNvSpPr txBox="1"/>
              <p:nvPr/>
            </p:nvSpPr>
            <p:spPr bwMode="gray">
              <a:xfrm>
                <a:off x="5525840" y="3618320"/>
                <a:ext cx="1879457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2000" b="1" cap="all" spc="-80">
                    <a:solidFill>
                      <a:srgbClr val="1E7FB8"/>
                    </a:solidFill>
                    <a:latin typeface="Leelawadee" panose="020B0502040204020203" pitchFamily="34" charset="-34"/>
                    <a:ea typeface="Lato Heavy" panose="020F0502020204030203" pitchFamily="34" charset="0"/>
                    <a:cs typeface="Leelawadee" panose="020B0502040204020203" pitchFamily="34" charset="-34"/>
                  </a:rPr>
                  <a:t>emergencies</a:t>
                </a:r>
              </a:p>
            </p:txBody>
          </p:sp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F7A58B88-8F2E-4A48-9125-81226E10CFFF}"/>
                  </a:ext>
                </a:extLst>
              </p:cNvPr>
              <p:cNvSpPr txBox="1"/>
              <p:nvPr/>
            </p:nvSpPr>
            <p:spPr bwMode="gray">
              <a:xfrm>
                <a:off x="6494240" y="3838374"/>
                <a:ext cx="889168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spc="-80">
                    <a:solidFill>
                      <a:srgbClr val="1E7FB8"/>
                    </a:solidFill>
                    <a:latin typeface="Corbel" panose="020B0503020204020204" pitchFamily="34" charset="0"/>
                    <a:cs typeface="+mn-cs"/>
                  </a:rPr>
                  <a:t>programme</a:t>
                </a:r>
              </a:p>
            </p:txBody>
          </p:sp>
        </p:grpSp>
      </p:grp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85989E26-E42C-5649-8213-BDFE8570943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018376" y="1229680"/>
            <a:ext cx="9307151" cy="47018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8A9203F4-5D8D-ED4D-82AB-0C44E544362D}"/>
              </a:ext>
            </a:extLst>
          </p:cNvPr>
          <p:cNvCxnSpPr/>
          <p:nvPr userDrawn="1"/>
        </p:nvCxnSpPr>
        <p:spPr bwMode="gray">
          <a:xfrm>
            <a:off x="-12288" y="6021288"/>
            <a:ext cx="12204288" cy="0"/>
          </a:xfrm>
          <a:prstGeom prst="line">
            <a:avLst/>
          </a:prstGeom>
          <a:ln w="25400">
            <a:solidFill>
              <a:srgbClr val="303A5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412">
            <a:extLst>
              <a:ext uri="{FF2B5EF4-FFF2-40B4-BE49-F238E27FC236}">
                <a16:creationId xmlns:a16="http://schemas.microsoft.com/office/drawing/2014/main" id="{55C0313B-DC1D-DE45-B939-1D3E339AE2C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3393" y="6108274"/>
            <a:ext cx="1991988" cy="6083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Oval 15">
            <a:extLst>
              <a:ext uri="{FF2B5EF4-FFF2-40B4-BE49-F238E27FC236}">
                <a16:creationId xmlns:a16="http://schemas.microsoft.com/office/drawing/2014/main" id="{DBD34ED1-3DF3-EA44-9697-CAFE409C229D}"/>
              </a:ext>
            </a:extLst>
          </p:cNvPr>
          <p:cNvSpPr/>
          <p:nvPr userDrawn="1"/>
        </p:nvSpPr>
        <p:spPr>
          <a:xfrm>
            <a:off x="11378004" y="6454588"/>
            <a:ext cx="204396" cy="204396"/>
          </a:xfrm>
          <a:prstGeom prst="ellipse">
            <a:avLst/>
          </a:prstGeom>
          <a:solidFill>
            <a:srgbClr val="9A1D5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de-DE" sz="1600">
              <a:solidFill>
                <a:srgbClr val="0D994D"/>
              </a:solidFill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9C7EC2F9-699B-C64E-8C85-4BFBE512B56D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325529" y="6472437"/>
            <a:ext cx="309346" cy="16398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algn="ctr"/>
            <a:fld id="{42C328C1-A84F-4A39-A664-DBA00541A8C6}" type="slidenum">
              <a:rPr lang="en-US" sz="1000" b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‹#›</a:t>
            </a:fld>
            <a:endParaRPr lang="en-US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C20AFFCC-8C27-E943-B148-5A2EAFC907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10702" y="226964"/>
            <a:ext cx="9354528" cy="64586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br>
              <a:rPr lang="en-US" dirty="0"/>
            </a:br>
            <a:endParaRPr lang="de-DE" dirty="0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E38B902-CC94-6E4E-9347-7A78BAAB0E48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12624160" y="1782320"/>
            <a:ext cx="360320" cy="36032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480EF28D-674B-874A-B779-BCC384888171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10127" y="6068311"/>
            <a:ext cx="1667801" cy="684139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E66E4A64-939B-904C-BB63-FB6BA8724832}"/>
              </a:ext>
            </a:extLst>
          </p:cNvPr>
          <p:cNvPicPr>
            <a:picLocks noChangeAspect="1"/>
          </p:cNvPicPr>
          <p:nvPr userDrawn="1"/>
        </p:nvPicPr>
        <p:blipFill>
          <a:blip r:embed="rId16"/>
          <a:stretch>
            <a:fillRect/>
          </a:stretch>
        </p:blipFill>
        <p:spPr>
          <a:xfrm>
            <a:off x="12624160" y="2446064"/>
            <a:ext cx="2501900" cy="2133600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65D7A958-2317-C945-A56C-C72374B3AB1E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805651" cy="1795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2208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62" r:id="rId1"/>
    <p:sldLayoutId id="2147485563" r:id="rId2"/>
    <p:sldLayoutId id="2147485564" r:id="rId3"/>
    <p:sldLayoutId id="2147485565" r:id="rId4"/>
    <p:sldLayoutId id="2147485566" r:id="rId5"/>
    <p:sldLayoutId id="2147485567" r:id="rId6"/>
    <p:sldLayoutId id="2147485568" r:id="rId7"/>
    <p:sldLayoutId id="2147485569" r:id="rId8"/>
    <p:sldLayoutId id="2147485570" r:id="rId9"/>
    <p:sldLayoutId id="2147485583" r:id="rId10"/>
    <p:sldLayoutId id="214748558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i="0" kern="1200">
          <a:solidFill>
            <a:srgbClr val="303A5F"/>
          </a:solidFill>
          <a:latin typeface="Helvetica Neue Light" panose="02000403000000020004" pitchFamily="2" charset="0"/>
          <a:ea typeface="Helvetica Neue Light" panose="02000403000000020004" pitchFamily="2" charset="0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ts val="1800"/>
        </a:lnSpc>
        <a:spcBef>
          <a:spcPts val="600"/>
        </a:spcBef>
        <a:buSzPct val="113000"/>
        <a:buFont typeface="Arial" panose="020B0604020202020204" pitchFamily="34" charset="0"/>
        <a:buChar char="•"/>
        <a:defRPr sz="2400" b="0" i="0" kern="1200">
          <a:solidFill>
            <a:srgbClr val="303A5F"/>
          </a:solidFill>
          <a:latin typeface="Helvetica Neue" panose="02000503000000020004" pitchFamily="2" charset="0"/>
          <a:ea typeface="Helvetica Neue" panose="02000503000000020004" pitchFamily="2" charset="0"/>
          <a:cs typeface="Helvetica Neue" panose="02000503000000020004" pitchFamily="2" charset="0"/>
        </a:defRPr>
      </a:lvl1pPr>
      <a:lvl2pPr marL="360000" indent="-180000" algn="l" defTabSz="914400" rtl="0" eaLnBrk="1" latinLnBrk="0" hangingPunct="1">
        <a:lnSpc>
          <a:spcPts val="1800"/>
        </a:lnSpc>
        <a:spcBef>
          <a:spcPts val="1200"/>
        </a:spcBef>
        <a:buSzPct val="113000"/>
        <a:buFont typeface="Arial" panose="020B0604020202020204" pitchFamily="34" charset="0"/>
        <a:buChar char="•"/>
        <a:defRPr sz="1800" b="0" i="0" kern="1200" cap="all" baseline="0">
          <a:solidFill>
            <a:srgbClr val="4EC4CF"/>
          </a:solidFill>
          <a:latin typeface="Helvetica Neue" panose="02000503000000020004" pitchFamily="2" charset="0"/>
          <a:ea typeface="Helvetica Neue" panose="02000503000000020004" pitchFamily="2" charset="0"/>
          <a:cs typeface="Helvetica Neue" panose="02000503000000020004" pitchFamily="2" charset="0"/>
        </a:defRPr>
      </a:lvl2pPr>
      <a:lvl3pPr marL="540000" indent="-180000" algn="l" defTabSz="914400" rtl="0" eaLnBrk="1" latinLnBrk="0" hangingPunct="1">
        <a:lnSpc>
          <a:spcPts val="1800"/>
        </a:lnSpc>
        <a:spcBef>
          <a:spcPts val="600"/>
        </a:spcBef>
        <a:buClr>
          <a:srgbClr val="9A1D55"/>
        </a:buClr>
        <a:buSzPct val="113000"/>
        <a:buFont typeface="Symbol" pitchFamily="2" charset="2"/>
        <a:buChar char="-"/>
        <a:defRPr sz="1800" b="0" i="0" kern="1200">
          <a:solidFill>
            <a:srgbClr val="9A1D55"/>
          </a:solidFill>
          <a:latin typeface="Helvetica Neue" panose="02000503000000020004" pitchFamily="2" charset="0"/>
          <a:ea typeface="Helvetica Neue" panose="02000503000000020004" pitchFamily="2" charset="0"/>
          <a:cs typeface="Helvetica Neue" panose="02000503000000020004" pitchFamily="2" charset="0"/>
        </a:defRPr>
      </a:lvl3pPr>
      <a:lvl4pPr marL="180000" indent="-180000" algn="l" defTabSz="914400" rtl="0" eaLnBrk="1" latinLnBrk="0" hangingPunct="1">
        <a:lnSpc>
          <a:spcPts val="1800"/>
        </a:lnSpc>
        <a:spcBef>
          <a:spcPts val="6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ource Sans Pro" panose="020B0503030403020204" pitchFamily="34" charset="0"/>
          <a:ea typeface="+mn-ea"/>
          <a:cs typeface="+mn-cs"/>
        </a:defRPr>
      </a:lvl4pPr>
      <a:lvl5pPr marL="180000" indent="-180000" algn="l" defTabSz="914400" rtl="0" eaLnBrk="1" latinLnBrk="0" hangingPunct="1">
        <a:lnSpc>
          <a:spcPts val="1800"/>
        </a:lnSpc>
        <a:spcBef>
          <a:spcPts val="6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ource Sans Pro" panose="020B05030304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D01C1B2-7505-2B44-B889-DE4B5E9E0A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F0822FB-D1EF-A341-84FC-BB0DF6F0E15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039B1FB-C6FD-E64F-8064-AB489131CB6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680FC3-CCDB-0C42-B346-60E2A0E6098F}" type="datetimeFigureOut">
              <a:rPr lang="de-DE" smtClean="0"/>
              <a:t>19.08.2022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4CCF711-CC6A-3848-9CB3-FC91EDF6F7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00343F7-DFCC-924D-B14A-E22DB5FF25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2B72B8-1EE2-D945-B40B-545228F2790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574085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72" r:id="rId1"/>
    <p:sldLayoutId id="2147485573" r:id="rId2"/>
    <p:sldLayoutId id="2147485574" r:id="rId3"/>
    <p:sldLayoutId id="2147485575" r:id="rId4"/>
    <p:sldLayoutId id="2147485576" r:id="rId5"/>
    <p:sldLayoutId id="2147485577" r:id="rId6"/>
    <p:sldLayoutId id="2147485578" r:id="rId7"/>
    <p:sldLayoutId id="2147485579" r:id="rId8"/>
    <p:sldLayoutId id="2147485580" r:id="rId9"/>
    <p:sldLayoutId id="2147485581" r:id="rId10"/>
    <p:sldLayoutId id="2147485582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Word_Document.docx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4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46D8F708-4192-45FC-BAB7-C6AAAB4DBA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WHO </a:t>
            </a:r>
            <a:r>
              <a:rPr lang="de-DE" b="1" dirty="0" err="1"/>
              <a:t>recommendations</a:t>
            </a:r>
            <a:r>
              <a:rPr lang="de-DE" b="1" dirty="0"/>
              <a:t> </a:t>
            </a:r>
            <a:r>
              <a:rPr lang="de-DE" b="1" dirty="0" err="1"/>
              <a:t>for</a:t>
            </a:r>
            <a:r>
              <a:rPr lang="de-DE" b="1" dirty="0"/>
              <a:t> non-invasive </a:t>
            </a:r>
            <a:r>
              <a:rPr lang="de-DE" b="1" dirty="0" err="1"/>
              <a:t>respiratory</a:t>
            </a:r>
            <a:r>
              <a:rPr lang="de-DE" b="1" dirty="0"/>
              <a:t> support </a:t>
            </a:r>
            <a:r>
              <a:rPr lang="de-DE" b="1" dirty="0" err="1"/>
              <a:t>for</a:t>
            </a:r>
            <a:r>
              <a:rPr lang="de-DE" b="1" dirty="0"/>
              <a:t> COVID-19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9C6A432-E208-49FD-8903-ECD9BBFAFFC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2200" cap="none" dirty="0">
                <a:solidFill>
                  <a:schemeClr val="tx1"/>
                </a:solidFill>
              </a:rPr>
              <a:t>Neill Adhikari, Sunnybrook Health Sciences Centre and University of Toronto</a:t>
            </a:r>
          </a:p>
          <a:p>
            <a:endParaRPr lang="en-US" sz="2200" cap="none" dirty="0">
              <a:solidFill>
                <a:schemeClr val="tx1"/>
              </a:solidFill>
            </a:endParaRPr>
          </a:p>
          <a:p>
            <a:r>
              <a:rPr lang="en-US" sz="2200" cap="none" dirty="0">
                <a:solidFill>
                  <a:schemeClr val="tx1"/>
                </a:solidFill>
              </a:rPr>
              <a:t>Clinical co-chair, WHO guideline panel</a:t>
            </a:r>
          </a:p>
          <a:p>
            <a:endParaRPr lang="en-US" sz="2200" cap="none" dirty="0">
              <a:solidFill>
                <a:schemeClr val="tx1"/>
              </a:solidFill>
            </a:endParaRPr>
          </a:p>
          <a:p>
            <a:r>
              <a:rPr lang="en-US" sz="2200" cap="none" dirty="0">
                <a:solidFill>
                  <a:schemeClr val="tx1"/>
                </a:solidFill>
              </a:rPr>
              <a:t>4 August 2022</a:t>
            </a:r>
          </a:p>
          <a:p>
            <a:r>
              <a:rPr lang="en-US" sz="2200" cap="none" dirty="0">
                <a:solidFill>
                  <a:schemeClr val="tx1"/>
                </a:solidFill>
              </a:rPr>
              <a:t>USAID Global Goods webinar on oxygen updates</a:t>
            </a:r>
          </a:p>
          <a:p>
            <a:endParaRPr lang="en-US" sz="2200" cap="none" dirty="0">
              <a:solidFill>
                <a:schemeClr val="tx1"/>
              </a:solidFill>
            </a:endParaRPr>
          </a:p>
          <a:p>
            <a:endParaRPr lang="en-US" sz="2200" cap="none" dirty="0">
              <a:solidFill>
                <a:schemeClr val="tx1"/>
              </a:solidFill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616612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D2D9EB0-BE95-443A-B8D2-2FF65A4525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ommendation 1 - HFNO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28DE3B5-2414-45B7-AD61-8F33C0944AF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lnSpc>
                <a:spcPct val="100000"/>
              </a:lnSpc>
              <a:buNone/>
            </a:pPr>
            <a:r>
              <a:rPr lang="en-US" dirty="0"/>
              <a:t>In hospitalized patients with severe or critical COVID-19 and acute hypoxemic respiratory failure (AHRF) not needing emergent intubation, we suggest high-flow nasal oxygen (HFNO) rather than standard oxygen therapy (SOT) (conditional recommendation). </a:t>
            </a:r>
          </a:p>
        </p:txBody>
      </p:sp>
      <p:pic>
        <p:nvPicPr>
          <p:cNvPr id="3" name="Picture 2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id="{4F815A52-5EE6-4F88-90C9-76028CB5C89E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4164" y="2968830"/>
            <a:ext cx="2802659" cy="2802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905820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89F9EB-AB5E-B54F-C537-B78684FDA7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Content Placeholder 4" descr="Graphical user interface, application, Teams&#10;&#10;Description automatically generated">
            <a:extLst>
              <a:ext uri="{FF2B5EF4-FFF2-40B4-BE49-F238E27FC236}">
                <a16:creationId xmlns:a16="http://schemas.microsoft.com/office/drawing/2014/main" id="{2A80F79E-2032-1EB6-8A90-987376CA930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874"/>
            <a:ext cx="12191999" cy="6858001"/>
          </a:xfrm>
        </p:spPr>
      </p:pic>
    </p:spTree>
    <p:extLst>
      <p:ext uri="{BB962C8B-B14F-4D97-AF65-F5344CB8AC3E}">
        <p14:creationId xmlns:p14="http://schemas.microsoft.com/office/powerpoint/2010/main" val="14980631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D2D9EB0-BE95-443A-B8D2-2FF65A4525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ommendation 2 - CPAP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28DE3B5-2414-45B7-AD61-8F33C0944AF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lnSpc>
                <a:spcPct val="100000"/>
              </a:lnSpc>
              <a:buNone/>
            </a:pPr>
            <a:r>
              <a:rPr lang="en-CA" dirty="0"/>
              <a:t>In hospitalized patients with severe or critical COVID-19 and AHRF not needing emergent intubation, we suggest CPAP, rather than standard oxygen therapy (conditional recommendation).  </a:t>
            </a:r>
            <a:endParaRPr lang="en-US" dirty="0"/>
          </a:p>
        </p:txBody>
      </p:sp>
      <p:pic>
        <p:nvPicPr>
          <p:cNvPr id="3" name="Picture 2" descr="Logo&#10;&#10;Description automatically generated">
            <a:extLst>
              <a:ext uri="{FF2B5EF4-FFF2-40B4-BE49-F238E27FC236}">
                <a16:creationId xmlns:a16="http://schemas.microsoft.com/office/drawing/2014/main" id="{26833C76-8E65-0011-3B1B-6BE9DEA7B89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5056" y="2728026"/>
            <a:ext cx="2688112" cy="2688112"/>
          </a:xfrm>
          <a:prstGeom prst="rect">
            <a:avLst/>
          </a:prstGeom>
        </p:spPr>
      </p:pic>
      <p:pic>
        <p:nvPicPr>
          <p:cNvPr id="7" name="Picture 6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3E31BC8F-61DE-3E62-B973-D2334182E65D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2132" y="2225899"/>
            <a:ext cx="3454812" cy="3454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680740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DAD14F-862A-61D2-3FE4-3A28B2488B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Content Placeholder 4" descr="Graphical user interface, application, Teams&#10;&#10;Description automatically generated">
            <a:extLst>
              <a:ext uri="{FF2B5EF4-FFF2-40B4-BE49-F238E27FC236}">
                <a16:creationId xmlns:a16="http://schemas.microsoft.com/office/drawing/2014/main" id="{24D3AF4A-BA97-D8A1-343D-CAFEEC0EAA6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7130"/>
            <a:ext cx="12192000" cy="6750870"/>
          </a:xfrm>
        </p:spPr>
      </p:pic>
    </p:spTree>
    <p:extLst>
      <p:ext uri="{BB962C8B-B14F-4D97-AF65-F5344CB8AC3E}">
        <p14:creationId xmlns:p14="http://schemas.microsoft.com/office/powerpoint/2010/main" val="411157649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D2D9EB0-BE95-443A-B8D2-2FF65A4525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ommendation 3 - NIV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28DE3B5-2414-45B7-AD61-8F33C0944AF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lnSpc>
                <a:spcPct val="100000"/>
              </a:lnSpc>
              <a:buNone/>
            </a:pPr>
            <a:r>
              <a:rPr lang="en-CA" dirty="0"/>
              <a:t>In hospitalized patients with severe or critical COVID-19 and AHRF not needing emergent intubation, we suggest non-invasive ventilation, rather than standard oxygen therapy (conditional recommendation). </a:t>
            </a:r>
            <a:endParaRPr lang="en-US" dirty="0"/>
          </a:p>
        </p:txBody>
      </p:sp>
      <p:pic>
        <p:nvPicPr>
          <p:cNvPr id="3" name="Picture 2" descr="Logo&#10;&#10;Description automatically generated">
            <a:extLst>
              <a:ext uri="{FF2B5EF4-FFF2-40B4-BE49-F238E27FC236}">
                <a16:creationId xmlns:a16="http://schemas.microsoft.com/office/drawing/2014/main" id="{962D929F-02DF-1FE2-8C1B-DD97BCD2888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8825" y="3013033"/>
            <a:ext cx="2462481" cy="2462481"/>
          </a:xfrm>
          <a:prstGeom prst="rect">
            <a:avLst/>
          </a:prstGeom>
        </p:spPr>
      </p:pic>
      <p:pic>
        <p:nvPicPr>
          <p:cNvPr id="7" name="Picture 6" descr="A picture containing text, room, vector graphics&#10;&#10;Description automatically generated">
            <a:extLst>
              <a:ext uri="{FF2B5EF4-FFF2-40B4-BE49-F238E27FC236}">
                <a16:creationId xmlns:a16="http://schemas.microsoft.com/office/drawing/2014/main" id="{E011A398-E019-DDB1-9107-09E5A4D1F82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9399" y="3013033"/>
            <a:ext cx="2462481" cy="2462481"/>
          </a:xfrm>
          <a:prstGeom prst="rect">
            <a:avLst/>
          </a:prstGeom>
        </p:spPr>
      </p:pic>
      <p:pic>
        <p:nvPicPr>
          <p:cNvPr id="9" name="Picture 8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0D946388-A1BC-4685-66B7-EC6AF0758001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7217" y="2565994"/>
            <a:ext cx="3114717" cy="3114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398457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D2D9EB0-BE95-443A-B8D2-2FF65A4525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7" name="Content Placeholder 6" descr="Graphical user interface, application, Teams&#10;&#10;Description automatically generated">
            <a:extLst>
              <a:ext uri="{FF2B5EF4-FFF2-40B4-BE49-F238E27FC236}">
                <a16:creationId xmlns:a16="http://schemas.microsoft.com/office/drawing/2014/main" id="{D94FBE10-0B6A-426A-9152-DF70AAFC13A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229827" cy="6858000"/>
          </a:xfrm>
        </p:spPr>
      </p:pic>
    </p:spTree>
    <p:extLst>
      <p:ext uri="{BB962C8B-B14F-4D97-AF65-F5344CB8AC3E}">
        <p14:creationId xmlns:p14="http://schemas.microsoft.com/office/powerpoint/2010/main" val="288007356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DC4482-2A86-31F0-E6C0-57CD763A8D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actical information (based on GDG experience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BECAE1-CB83-1A73-B1ED-9D90086E5C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HFNO</a:t>
            </a:r>
          </a:p>
          <a:p>
            <a:pPr marL="360000" lvl="2">
              <a:lnSpc>
                <a:spcPct val="100000"/>
              </a:lnSpc>
            </a:pPr>
            <a:r>
              <a:rPr lang="en-CA" sz="2400" dirty="0">
                <a:solidFill>
                  <a:srgbClr val="303A5F"/>
                </a:solidFill>
              </a:rPr>
              <a:t>Initial flow rate 50-60 L/min (2 L/kg/min in children)</a:t>
            </a:r>
          </a:p>
          <a:p>
            <a:pPr>
              <a:lnSpc>
                <a:spcPct val="100000"/>
              </a:lnSpc>
            </a:pPr>
            <a:r>
              <a:rPr lang="en-US" dirty="0"/>
              <a:t>CPAP</a:t>
            </a:r>
          </a:p>
          <a:p>
            <a:pPr marL="360000" lvl="2">
              <a:lnSpc>
                <a:spcPct val="100000"/>
              </a:lnSpc>
            </a:pPr>
            <a:r>
              <a:rPr lang="en-US" sz="2400" dirty="0">
                <a:solidFill>
                  <a:srgbClr val="303A5F"/>
                </a:solidFill>
              </a:rPr>
              <a:t>Initial pressure 5-10 cmH</a:t>
            </a:r>
            <a:r>
              <a:rPr lang="en-US" sz="2400" baseline="-25000" dirty="0">
                <a:solidFill>
                  <a:srgbClr val="303A5F"/>
                </a:solidFill>
              </a:rPr>
              <a:t>2</a:t>
            </a:r>
            <a:r>
              <a:rPr lang="en-US" sz="2400" dirty="0">
                <a:solidFill>
                  <a:srgbClr val="303A5F"/>
                </a:solidFill>
              </a:rPr>
              <a:t>O</a:t>
            </a:r>
          </a:p>
          <a:p>
            <a:pPr>
              <a:lnSpc>
                <a:spcPct val="100000"/>
              </a:lnSpc>
            </a:pPr>
            <a:r>
              <a:rPr lang="en-US" dirty="0"/>
              <a:t>NIV</a:t>
            </a:r>
          </a:p>
          <a:p>
            <a:pPr marL="360000" lvl="2">
              <a:lnSpc>
                <a:spcPct val="100000"/>
              </a:lnSpc>
            </a:pPr>
            <a:r>
              <a:rPr lang="en-US" sz="2400" dirty="0">
                <a:solidFill>
                  <a:srgbClr val="303A5F"/>
                </a:solidFill>
              </a:rPr>
              <a:t>Initial EPAP 5-10 cmH</a:t>
            </a:r>
            <a:r>
              <a:rPr lang="en-US" sz="2400" baseline="-25000" dirty="0">
                <a:solidFill>
                  <a:srgbClr val="303A5F"/>
                </a:solidFill>
              </a:rPr>
              <a:t>2</a:t>
            </a:r>
            <a:r>
              <a:rPr lang="en-US" sz="2400" dirty="0">
                <a:solidFill>
                  <a:srgbClr val="303A5F"/>
                </a:solidFill>
              </a:rPr>
              <a:t>O, IPAP to achieve Vt 6 ml/kg</a:t>
            </a:r>
          </a:p>
          <a:p>
            <a:pPr marL="180000" lvl="1">
              <a:lnSpc>
                <a:spcPct val="100000"/>
              </a:lnSpc>
            </a:pPr>
            <a:r>
              <a:rPr lang="en-US" sz="2400" cap="none" dirty="0">
                <a:solidFill>
                  <a:srgbClr val="303A5F"/>
                </a:solidFill>
              </a:rPr>
              <a:t>All</a:t>
            </a:r>
          </a:p>
          <a:p>
            <a:pPr marL="360000" lvl="2">
              <a:lnSpc>
                <a:spcPct val="100000"/>
              </a:lnSpc>
            </a:pPr>
            <a:r>
              <a:rPr lang="en-US" sz="2400" cap="none" dirty="0">
                <a:solidFill>
                  <a:srgbClr val="303A5F"/>
                </a:solidFill>
              </a:rPr>
              <a:t>Titrate to comfort and work of breathing</a:t>
            </a:r>
          </a:p>
          <a:p>
            <a:pPr marL="360000" lvl="2">
              <a:lnSpc>
                <a:spcPct val="100000"/>
              </a:lnSpc>
            </a:pPr>
            <a:r>
              <a:rPr lang="en-CA" sz="2400" dirty="0">
                <a:solidFill>
                  <a:srgbClr val="303A5F"/>
                </a:solidFill>
              </a:rPr>
              <a:t>Initial FiO</a:t>
            </a:r>
            <a:r>
              <a:rPr lang="en-CA" sz="2400" baseline="-25000" dirty="0">
                <a:solidFill>
                  <a:srgbClr val="303A5F"/>
                </a:solidFill>
              </a:rPr>
              <a:t>2</a:t>
            </a:r>
            <a:r>
              <a:rPr lang="en-CA" sz="2400" dirty="0">
                <a:solidFill>
                  <a:srgbClr val="303A5F"/>
                </a:solidFill>
              </a:rPr>
              <a:t> 100%</a:t>
            </a:r>
            <a:r>
              <a:rPr lang="en-US" sz="2400" dirty="0">
                <a:solidFill>
                  <a:srgbClr val="303A5F"/>
                </a:solidFill>
              </a:rPr>
              <a:t> and </a:t>
            </a:r>
            <a:r>
              <a:rPr lang="en-US" sz="2400" cap="none" dirty="0">
                <a:solidFill>
                  <a:srgbClr val="303A5F"/>
                </a:solidFill>
              </a:rPr>
              <a:t>titrate FiO</a:t>
            </a:r>
            <a:r>
              <a:rPr lang="en-US" sz="2400" cap="none" baseline="-25000" dirty="0">
                <a:solidFill>
                  <a:srgbClr val="303A5F"/>
                </a:solidFill>
              </a:rPr>
              <a:t>2</a:t>
            </a:r>
            <a:r>
              <a:rPr lang="en-US" sz="2400" cap="none" dirty="0">
                <a:solidFill>
                  <a:srgbClr val="303A5F"/>
                </a:solidFill>
              </a:rPr>
              <a:t> to achieve saturation target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104866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4F495F5-BD00-4783-821D-6157C6CF69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ll devices – key point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E6396E9-99AD-40E5-91CC-604883E9134A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 numCol="1"/>
          <a:lstStyle/>
          <a:p>
            <a:pPr>
              <a:lnSpc>
                <a:spcPct val="100000"/>
              </a:lnSpc>
            </a:pPr>
            <a:r>
              <a:rPr lang="en-CA" dirty="0"/>
              <a:t>Trials all conducted in high-resource settings</a:t>
            </a:r>
          </a:p>
          <a:p>
            <a:pPr>
              <a:lnSpc>
                <a:spcPct val="100000"/>
              </a:lnSpc>
            </a:pPr>
            <a:r>
              <a:rPr lang="en-CA" dirty="0"/>
              <a:t>Implementation considerations</a:t>
            </a:r>
          </a:p>
          <a:p>
            <a:pPr marL="360000" lvl="2">
              <a:lnSpc>
                <a:spcPct val="100000"/>
              </a:lnSpc>
            </a:pPr>
            <a:r>
              <a:rPr lang="en-CA" sz="2400" cap="none" dirty="0">
                <a:solidFill>
                  <a:srgbClr val="303A5F"/>
                </a:solidFill>
              </a:rPr>
              <a:t>oxygen supply</a:t>
            </a:r>
          </a:p>
          <a:p>
            <a:pPr marL="360000" lvl="2">
              <a:lnSpc>
                <a:spcPct val="100000"/>
              </a:lnSpc>
            </a:pPr>
            <a:r>
              <a:rPr lang="en-CA" sz="2400" cap="none" dirty="0">
                <a:solidFill>
                  <a:srgbClr val="303A5F"/>
                </a:solidFill>
              </a:rPr>
              <a:t>training of healthcare providers</a:t>
            </a:r>
          </a:p>
          <a:p>
            <a:pPr marL="360000" lvl="2">
              <a:lnSpc>
                <a:spcPct val="100000"/>
              </a:lnSpc>
            </a:pPr>
            <a:r>
              <a:rPr lang="en-CA" sz="2400" cap="none" dirty="0">
                <a:solidFill>
                  <a:srgbClr val="303A5F"/>
                </a:solidFill>
              </a:rPr>
              <a:t>additional equipment for patient monitoring</a:t>
            </a:r>
          </a:p>
          <a:p>
            <a:pPr marL="360000" lvl="2">
              <a:lnSpc>
                <a:spcPct val="100000"/>
              </a:lnSpc>
            </a:pPr>
            <a:r>
              <a:rPr lang="en-CA" sz="2400" dirty="0">
                <a:solidFill>
                  <a:srgbClr val="303A5F"/>
                </a:solidFill>
              </a:rPr>
              <a:t>n</a:t>
            </a:r>
            <a:r>
              <a:rPr lang="en-CA" sz="2400" cap="none" dirty="0">
                <a:solidFill>
                  <a:srgbClr val="303A5F"/>
                </a:solidFill>
              </a:rPr>
              <a:t>eed for maintenance of equipment</a:t>
            </a:r>
          </a:p>
          <a:p>
            <a:pPr marL="360000" lvl="2">
              <a:lnSpc>
                <a:spcPct val="100000"/>
              </a:lnSpc>
            </a:pPr>
            <a:r>
              <a:rPr lang="en-CA" sz="2400" cap="none" dirty="0">
                <a:solidFill>
                  <a:srgbClr val="303A5F"/>
                </a:solidFill>
              </a:rPr>
              <a:t>cost</a:t>
            </a:r>
          </a:p>
          <a:p>
            <a:pPr marL="360000" lvl="2">
              <a:lnSpc>
                <a:spcPct val="100000"/>
              </a:lnSpc>
            </a:pPr>
            <a:r>
              <a:rPr lang="en-CA" sz="2400" cap="none" dirty="0">
                <a:solidFill>
                  <a:srgbClr val="303A5F"/>
                </a:solidFill>
              </a:rPr>
              <a:t>organization of service delivery</a:t>
            </a:r>
            <a:endParaRPr lang="en-US" sz="2400" cap="none" dirty="0">
              <a:solidFill>
                <a:srgbClr val="303A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623328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E941AD3-37BF-46DB-B830-74D01C73FE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5024" y="112295"/>
            <a:ext cx="10617840" cy="702093"/>
          </a:xfrm>
        </p:spPr>
        <p:txBody>
          <a:bodyPr>
            <a:noAutofit/>
          </a:bodyPr>
          <a:lstStyle/>
          <a:p>
            <a:r>
              <a:rPr lang="en-US" dirty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No recommendation due to lack of certainty of evidenc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43CB181-6F44-4B5F-9055-C7082E7C055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9959243-38D9-44B8-A66A-25C85F53460E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HFNO vs CPAP vs NIV</a:t>
            </a:r>
          </a:p>
          <a:p>
            <a:pPr>
              <a:lnSpc>
                <a:spcPct val="100000"/>
              </a:lnSpc>
            </a:pPr>
            <a:r>
              <a:rPr lang="en-US" dirty="0"/>
              <a:t>CPAP interfaces</a:t>
            </a:r>
          </a:p>
          <a:p>
            <a:pPr>
              <a:lnSpc>
                <a:spcPct val="100000"/>
              </a:lnSpc>
            </a:pPr>
            <a:r>
              <a:rPr lang="en-US" dirty="0"/>
              <a:t>NIV interfaces</a:t>
            </a:r>
          </a:p>
        </p:txBody>
      </p:sp>
    </p:spTree>
    <p:extLst>
      <p:ext uri="{BB962C8B-B14F-4D97-AF65-F5344CB8AC3E}">
        <p14:creationId xmlns:p14="http://schemas.microsoft.com/office/powerpoint/2010/main" val="1703266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B54BE1B-4E6B-40A6-AA5C-FEA3D675AA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ture direction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3F8A6C9-2F1E-45C9-A4C8-6D48B16181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43792" y="1177290"/>
            <a:ext cx="9965720" cy="4743394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Additional trials expected of respiratory support devices, including in LMICs</a:t>
            </a:r>
          </a:p>
          <a:p>
            <a:pPr lvl="1">
              <a:lnSpc>
                <a:spcPct val="100000"/>
              </a:lnSpc>
            </a:pPr>
            <a:r>
              <a:rPr lang="en-US" sz="2000" cap="none" dirty="0"/>
              <a:t>ARISE-AFRICA, </a:t>
            </a:r>
            <a:r>
              <a:rPr lang="en-CA" sz="2000" cap="none" dirty="0"/>
              <a:t>NCT04693403</a:t>
            </a:r>
          </a:p>
          <a:p>
            <a:pPr lvl="1">
              <a:lnSpc>
                <a:spcPct val="100000"/>
              </a:lnSpc>
            </a:pPr>
            <a:r>
              <a:rPr lang="en-CA" sz="2000" cap="none" dirty="0"/>
              <a:t>BREATHE trial</a:t>
            </a:r>
            <a:endParaRPr lang="en-US" sz="2000" cap="none" dirty="0"/>
          </a:p>
          <a:p>
            <a:pPr>
              <a:lnSpc>
                <a:spcPct val="100000"/>
              </a:lnSpc>
            </a:pPr>
            <a:r>
              <a:rPr lang="en-US" dirty="0"/>
              <a:t>Recommendations will be updated as new trial data become available</a:t>
            </a:r>
          </a:p>
          <a:p>
            <a:pPr>
              <a:lnSpc>
                <a:spcPct val="100000"/>
              </a:lnSpc>
            </a:pPr>
            <a:r>
              <a:rPr lang="en-US" dirty="0"/>
              <a:t>Network meta-analysis may be informative</a:t>
            </a:r>
          </a:p>
        </p:txBody>
      </p:sp>
    </p:spTree>
    <p:extLst>
      <p:ext uri="{BB962C8B-B14F-4D97-AF65-F5344CB8AC3E}">
        <p14:creationId xmlns:p14="http://schemas.microsoft.com/office/powerpoint/2010/main" val="139966039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606563-ADFC-41F3-18DA-9A2DEE0C9F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jectiv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5C4401D-5DE0-4990-89AF-275D1274284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view WHO recommendations on non-invasive respiratory support for patients with severe and critical COVID-19</a:t>
            </a:r>
          </a:p>
          <a:p>
            <a:pPr>
              <a:lnSpc>
                <a:spcPct val="100000"/>
              </a:lnSpc>
            </a:pP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F50D7DE-3627-4B47-5C77-AED1834D49F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1213" y="2984912"/>
            <a:ext cx="10389572" cy="235898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F3E7B858-176D-8F71-0979-7877E3A33B61}"/>
              </a:ext>
            </a:extLst>
          </p:cNvPr>
          <p:cNvSpPr txBox="1"/>
          <p:nvPr/>
        </p:nvSpPr>
        <p:spPr>
          <a:xfrm>
            <a:off x="1359703" y="6145407"/>
            <a:ext cx="947259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https://</a:t>
            </a:r>
            <a:r>
              <a:rPr lang="en-US" sz="2400" dirty="0" err="1"/>
              <a:t>www.who.int</a:t>
            </a:r>
            <a:r>
              <a:rPr lang="en-US" sz="2400" dirty="0"/>
              <a:t>/publications/</a:t>
            </a:r>
            <a:r>
              <a:rPr lang="en-US" sz="2400" dirty="0" err="1"/>
              <a:t>i</a:t>
            </a:r>
            <a:r>
              <a:rPr lang="en-US" sz="2400" dirty="0"/>
              <a:t>/item/WHO-2019-nCoV-clinical-2022-1</a:t>
            </a:r>
          </a:p>
        </p:txBody>
      </p:sp>
    </p:spTree>
    <p:extLst>
      <p:ext uri="{BB962C8B-B14F-4D97-AF65-F5344CB8AC3E}">
        <p14:creationId xmlns:p14="http://schemas.microsoft.com/office/powerpoint/2010/main" val="404286425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739ECD-F50F-476B-06B8-B53C05C088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earch need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2BEC64B-6DFC-1B94-7138-8789C375501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Between-device comparisons</a:t>
            </a:r>
          </a:p>
          <a:p>
            <a:pPr>
              <a:lnSpc>
                <a:spcPct val="100000"/>
              </a:lnSpc>
            </a:pPr>
            <a:r>
              <a:rPr lang="en-US" dirty="0"/>
              <a:t>Interface comparisons</a:t>
            </a:r>
          </a:p>
          <a:p>
            <a:pPr>
              <a:lnSpc>
                <a:spcPct val="100000"/>
              </a:lnSpc>
            </a:pPr>
            <a:r>
              <a:rPr lang="en-US" dirty="0"/>
              <a:t>Risks of aerosol generation</a:t>
            </a:r>
          </a:p>
          <a:p>
            <a:pPr>
              <a:lnSpc>
                <a:spcPct val="100000"/>
              </a:lnSpc>
            </a:pPr>
            <a:r>
              <a:rPr lang="en-US" dirty="0"/>
              <a:t>Specific populations (e.g., children, pregnant women)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511129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2701C05-9A0D-B048-99C7-0029115FB4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fr-CA" sz="4000" dirty="0" err="1"/>
              <a:t>Recommendation</a:t>
            </a:r>
            <a:r>
              <a:rPr lang="fr-CA" sz="4000" dirty="0"/>
              <a:t> implica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510B422-5122-014D-950E-BCFF8FB2CD2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 descr="Screen Shot 2018-01-21 at 8.28.48 PM.png">
            <a:extLst>
              <a:ext uri="{FF2B5EF4-FFF2-40B4-BE49-F238E27FC236}">
                <a16:creationId xmlns:a16="http://schemas.microsoft.com/office/drawing/2014/main" id="{D4212FD3-BBAB-BC4F-83CA-560768F67EE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083" y="1288733"/>
            <a:ext cx="12220165" cy="3943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083809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583567-DDBD-8AC3-A252-7D5F63EE60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VID-19 is still an active pandemic</a:t>
            </a:r>
          </a:p>
        </p:txBody>
      </p:sp>
      <p:pic>
        <p:nvPicPr>
          <p:cNvPr id="5" name="Content Placeholder 4" descr="Chart&#10;&#10;Description automatically generated">
            <a:extLst>
              <a:ext uri="{FF2B5EF4-FFF2-40B4-BE49-F238E27FC236}">
                <a16:creationId xmlns:a16="http://schemas.microsoft.com/office/drawing/2014/main" id="{ED3BFEF3-31E1-2A2E-3136-3081CF71BA4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917" y="1068780"/>
            <a:ext cx="5731083" cy="5349832"/>
          </a:xfrm>
        </p:spPr>
      </p:pic>
      <p:pic>
        <p:nvPicPr>
          <p:cNvPr id="7" name="Picture 6" descr="A map of the world&#10;&#10;Description automatically generated with medium confidence">
            <a:extLst>
              <a:ext uri="{FF2B5EF4-FFF2-40B4-BE49-F238E27FC236}">
                <a16:creationId xmlns:a16="http://schemas.microsoft.com/office/drawing/2014/main" id="{C5E52D8C-D0AC-CB2B-58C3-D49A489CB50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7041" y="1828800"/>
            <a:ext cx="5964959" cy="340854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14B6DFE-33A3-341A-9243-A41659B27999}"/>
              </a:ext>
            </a:extLst>
          </p:cNvPr>
          <p:cNvSpPr txBox="1"/>
          <p:nvPr/>
        </p:nvSpPr>
        <p:spPr>
          <a:xfrm>
            <a:off x="7410202" y="6335485"/>
            <a:ext cx="416582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/>
              <a:t>https://</a:t>
            </a:r>
            <a:r>
              <a:rPr lang="en-US" sz="2000" dirty="0" err="1"/>
              <a:t>coronavirus.jhu.edu</a:t>
            </a:r>
            <a:r>
              <a:rPr lang="en-US" sz="2000" dirty="0"/>
              <a:t>/</a:t>
            </a:r>
            <a:r>
              <a:rPr lang="en-US" sz="2000" dirty="0" err="1"/>
              <a:t>map.html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64806704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88D2A3-505A-D151-3265-06C872509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pul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604C84-19DC-FD8E-C3CD-24D8525EEF3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50065" y="5300171"/>
            <a:ext cx="11133374" cy="822609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sz="2800" u="sng" dirty="0"/>
              <a:t>and</a:t>
            </a:r>
            <a:r>
              <a:rPr lang="en-US" sz="2800" dirty="0"/>
              <a:t> acute hypoxemic respiratory failur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656F5C7-A608-5C02-DB5C-EBD75E68633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8561" y="842963"/>
            <a:ext cx="11574878" cy="4286992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C3587528-C210-987E-7315-D736EA84C71B}"/>
              </a:ext>
            </a:extLst>
          </p:cNvPr>
          <p:cNvSpPr/>
          <p:nvPr/>
        </p:nvSpPr>
        <p:spPr>
          <a:xfrm>
            <a:off x="6958941" y="1685926"/>
            <a:ext cx="4785755" cy="3182587"/>
          </a:xfrm>
          <a:prstGeom prst="rect">
            <a:avLst/>
          </a:prstGeom>
          <a:noFill/>
          <a:ln w="508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307699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D2D9EB0-BE95-443A-B8D2-2FF65A4525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thod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28DE3B5-2414-45B7-AD61-8F33C0944AF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Guideline panel had input into initial PICO questions</a:t>
            </a:r>
          </a:p>
          <a:p>
            <a:pPr>
              <a:lnSpc>
                <a:spcPct val="100000"/>
              </a:lnSpc>
            </a:pPr>
            <a:r>
              <a:rPr lang="en-US" dirty="0"/>
              <a:t>Systematic review commissioned</a:t>
            </a:r>
          </a:p>
          <a:p>
            <a:pPr marL="360000" lvl="2">
              <a:lnSpc>
                <a:spcPct val="100000"/>
              </a:lnSpc>
            </a:pPr>
            <a:r>
              <a:rPr lang="en-US" sz="2400" dirty="0">
                <a:solidFill>
                  <a:srgbClr val="303A5F"/>
                </a:solidFill>
              </a:rPr>
              <a:t>Evidence from direct population (COVID-19)</a:t>
            </a:r>
          </a:p>
          <a:p>
            <a:pPr marL="360000" lvl="2">
              <a:lnSpc>
                <a:spcPct val="100000"/>
              </a:lnSpc>
            </a:pPr>
            <a:r>
              <a:rPr lang="en-US" sz="2400" dirty="0">
                <a:solidFill>
                  <a:srgbClr val="303A5F"/>
                </a:solidFill>
              </a:rPr>
              <a:t>Evidence from indirect population (non-COVID AHRF)</a:t>
            </a:r>
          </a:p>
          <a:p>
            <a:pPr>
              <a:lnSpc>
                <a:spcPct val="100000"/>
              </a:lnSpc>
            </a:pPr>
            <a:r>
              <a:rPr lang="en-US" dirty="0"/>
              <a:t>Pairwise meta-analysis</a:t>
            </a:r>
          </a:p>
          <a:p>
            <a:pPr>
              <a:lnSpc>
                <a:spcPct val="100000"/>
              </a:lnSpc>
            </a:pPr>
            <a:r>
              <a:rPr lang="en-US" dirty="0"/>
              <a:t>Clinical and methods chairs and WHO met with SR team to clarify results and refine GRADE levels of evidence</a:t>
            </a:r>
          </a:p>
          <a:p>
            <a:pPr>
              <a:lnSpc>
                <a:spcPct val="100000"/>
              </a:lnSpc>
            </a:pPr>
            <a:r>
              <a:rPr lang="en-US" dirty="0"/>
              <a:t>Guideline panel considered draft recommendations and provided feedback on additional text</a:t>
            </a:r>
          </a:p>
          <a:p>
            <a:pPr>
              <a:lnSpc>
                <a:spcPct val="100000"/>
              </a:lnSpc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020465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DCC0D1A-E49B-0444-9A74-B34288E688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30628"/>
            <a:ext cx="12192000" cy="922792"/>
          </a:xfrm>
          <a:noFill/>
        </p:spPr>
        <p:txBody>
          <a:bodyPr>
            <a:normAutofit fontScale="90000"/>
          </a:bodyPr>
          <a:lstStyle/>
          <a:p>
            <a:pPr algn="ctr"/>
            <a:r>
              <a:rPr lang="en-US" sz="3200" dirty="0"/>
              <a:t>Certainty of evidence</a:t>
            </a:r>
            <a:br>
              <a:rPr lang="en-US" sz="3200" dirty="0"/>
            </a:br>
            <a:r>
              <a:rPr lang="en-US" dirty="0"/>
              <a:t>(quality of the evidence, confidence in estimates)</a:t>
            </a:r>
            <a:endParaRPr lang="fr-CA" dirty="0"/>
          </a:p>
        </p:txBody>
      </p:sp>
      <p:graphicFrame>
        <p:nvGraphicFramePr>
          <p:cNvPr id="7" name="Object 4">
            <a:extLst>
              <a:ext uri="{FF2B5EF4-FFF2-40B4-BE49-F238E27FC236}">
                <a16:creationId xmlns:a16="http://schemas.microsoft.com/office/drawing/2014/main" id="{9963DDD7-A44B-AC44-A840-538A2C852650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630724797"/>
              </p:ext>
            </p:extLst>
          </p:nvPr>
        </p:nvGraphicFramePr>
        <p:xfrm>
          <a:off x="708228" y="1053420"/>
          <a:ext cx="11107719" cy="55771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Document" r:id="rId3" imgW="9080500" imgH="4559300" progId="Word.Document.12">
                  <p:embed/>
                </p:oleObj>
              </mc:Choice>
              <mc:Fallback>
                <p:oleObj name="Document" r:id="rId3" imgW="9080500" imgH="4559300" progId="Word.Document.12">
                  <p:embed/>
                  <p:pic>
                    <p:nvPicPr>
                      <p:cNvPr id="7" name="Object 4">
                        <a:extLst>
                          <a:ext uri="{FF2B5EF4-FFF2-40B4-BE49-F238E27FC236}">
                            <a16:creationId xmlns:a16="http://schemas.microsoft.com/office/drawing/2014/main" id="{9963DDD7-A44B-AC44-A840-538A2C8526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08228" y="1053420"/>
                        <a:ext cx="11107719" cy="55771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A7865FFB-638A-37F0-528F-BCA5A8CE02C9}"/>
              </a:ext>
            </a:extLst>
          </p:cNvPr>
          <p:cNvSpPr/>
          <p:nvPr/>
        </p:nvSpPr>
        <p:spPr>
          <a:xfrm>
            <a:off x="4963886" y="3016332"/>
            <a:ext cx="1567543" cy="3182587"/>
          </a:xfrm>
          <a:prstGeom prst="rect">
            <a:avLst/>
          </a:prstGeom>
          <a:noFill/>
          <a:ln w="508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28519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BF4E206-D051-CF45-846F-A0C808AC23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1378" y="0"/>
            <a:ext cx="11407487" cy="972589"/>
          </a:xfrm>
        </p:spPr>
        <p:txBody>
          <a:bodyPr>
            <a:normAutofit/>
          </a:bodyPr>
          <a:lstStyle/>
          <a:p>
            <a:pPr algn="ctr"/>
            <a:r>
              <a:rPr lang="fr-CA" sz="4800" err="1"/>
              <a:t>Strength</a:t>
            </a:r>
            <a:r>
              <a:rPr lang="fr-CA" sz="4800"/>
              <a:t> of </a:t>
            </a:r>
            <a:r>
              <a:rPr lang="fr-CA" sz="4800" err="1"/>
              <a:t>recommendations</a:t>
            </a:r>
            <a:endParaRPr lang="fr-CA" sz="4800"/>
          </a:p>
        </p:txBody>
      </p:sp>
      <p:graphicFrame>
        <p:nvGraphicFramePr>
          <p:cNvPr id="5" name="Espace réservé du contenu 2">
            <a:extLst>
              <a:ext uri="{FF2B5EF4-FFF2-40B4-BE49-F238E27FC236}">
                <a16:creationId xmlns:a16="http://schemas.microsoft.com/office/drawing/2014/main" id="{59E1075D-4F6E-4986-857B-226A80379EE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913684892"/>
              </p:ext>
            </p:extLst>
          </p:nvPr>
        </p:nvGraphicFramePr>
        <p:xfrm>
          <a:off x="391378" y="1357540"/>
          <a:ext cx="11407487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62262579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7ED8139-8042-5648-89C9-172621A21D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1378" y="320675"/>
            <a:ext cx="11407487" cy="826481"/>
          </a:xfrm>
        </p:spPr>
        <p:txBody>
          <a:bodyPr>
            <a:normAutofit fontScale="90000"/>
          </a:bodyPr>
          <a:lstStyle/>
          <a:p>
            <a:r>
              <a:rPr lang="fr-CA" sz="5400"/>
              <a:t>Four options for </a:t>
            </a:r>
            <a:r>
              <a:rPr lang="fr-CA" sz="5400" err="1"/>
              <a:t>recommendations</a:t>
            </a:r>
            <a:endParaRPr lang="fr-CA" sz="5400"/>
          </a:p>
        </p:txBody>
      </p:sp>
      <p:graphicFrame>
        <p:nvGraphicFramePr>
          <p:cNvPr id="5" name="Espace réservé du contenu 2">
            <a:extLst>
              <a:ext uri="{FF2B5EF4-FFF2-40B4-BE49-F238E27FC236}">
                <a16:creationId xmlns:a16="http://schemas.microsoft.com/office/drawing/2014/main" id="{CE4F3579-C487-4610-A73A-CE3ECD9630ED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0780442"/>
              </p:ext>
            </p:extLst>
          </p:nvPr>
        </p:nvGraphicFramePr>
        <p:xfrm>
          <a:off x="126121" y="1368425"/>
          <a:ext cx="11937999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89227076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CD9189-50DC-4BED-7561-D14FB6A017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urces of evidenc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AB47F1D-47DA-4081-8EF4-718F220749E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028825" y="1177289"/>
            <a:ext cx="9413110" cy="5401641"/>
          </a:xfrm>
        </p:spPr>
        <p:txBody>
          <a:bodyPr>
            <a:normAutofit lnSpcReduction="10000"/>
          </a:bodyPr>
          <a:lstStyle/>
          <a:p>
            <a:pPr marL="0" indent="0">
              <a:lnSpc>
                <a:spcPct val="100000"/>
              </a:lnSpc>
              <a:buNone/>
            </a:pPr>
            <a:r>
              <a:rPr lang="en-US" sz="2800" dirty="0"/>
              <a:t>HFNO vs SOT</a:t>
            </a:r>
          </a:p>
          <a:p>
            <a:pPr>
              <a:lnSpc>
                <a:spcPct val="100000"/>
              </a:lnSpc>
            </a:pPr>
            <a:r>
              <a:rPr lang="en-US" sz="2800" dirty="0"/>
              <a:t>COVID-19 patients with AHRF: 4 RCTs, n=1053</a:t>
            </a:r>
          </a:p>
          <a:p>
            <a:pPr>
              <a:lnSpc>
                <a:spcPct val="100000"/>
              </a:lnSpc>
            </a:pPr>
            <a:r>
              <a:rPr lang="en-US" sz="2800" dirty="0"/>
              <a:t>Non-COVID ARDS: 5 RCTs, n=1425</a:t>
            </a:r>
          </a:p>
          <a:p>
            <a:pPr>
              <a:lnSpc>
                <a:spcPct val="100000"/>
              </a:lnSpc>
            </a:pPr>
            <a:endParaRPr lang="en-US" dirty="0"/>
          </a:p>
          <a:p>
            <a:pPr marL="0" indent="0">
              <a:lnSpc>
                <a:spcPct val="100000"/>
              </a:lnSpc>
              <a:buNone/>
            </a:pPr>
            <a:r>
              <a:rPr lang="en-US" sz="2800" dirty="0"/>
              <a:t>CPAP vs SOT</a:t>
            </a:r>
          </a:p>
          <a:p>
            <a:pPr>
              <a:lnSpc>
                <a:spcPct val="100000"/>
              </a:lnSpc>
            </a:pPr>
            <a:r>
              <a:rPr lang="en-US" sz="2800" dirty="0"/>
              <a:t>COVID-19 patients with AHRF: 1 RCT, n=742</a:t>
            </a:r>
          </a:p>
          <a:p>
            <a:pPr>
              <a:lnSpc>
                <a:spcPct val="100000"/>
              </a:lnSpc>
            </a:pPr>
            <a:r>
              <a:rPr lang="en-US" sz="2800" dirty="0"/>
              <a:t>Non-COVID ARDS: 4 RCTs, n=871</a:t>
            </a:r>
          </a:p>
          <a:p>
            <a:pPr>
              <a:lnSpc>
                <a:spcPct val="100000"/>
              </a:lnSpc>
            </a:pPr>
            <a:endParaRPr lang="en-US" sz="2800" dirty="0"/>
          </a:p>
          <a:p>
            <a:pPr marL="0" indent="0">
              <a:lnSpc>
                <a:spcPct val="100000"/>
              </a:lnSpc>
              <a:buNone/>
            </a:pPr>
            <a:r>
              <a:rPr lang="en-US" sz="2800" dirty="0"/>
              <a:t>Facemask NIV vs SOT</a:t>
            </a:r>
          </a:p>
          <a:p>
            <a:pPr>
              <a:lnSpc>
                <a:spcPct val="100000"/>
              </a:lnSpc>
            </a:pPr>
            <a:r>
              <a:rPr lang="en-US" sz="2800" dirty="0"/>
              <a:t>COVID-19 patients with AHRF: none</a:t>
            </a:r>
          </a:p>
          <a:p>
            <a:pPr>
              <a:lnSpc>
                <a:spcPct val="100000"/>
              </a:lnSpc>
            </a:pPr>
            <a:r>
              <a:rPr lang="en-US" sz="2800" dirty="0"/>
              <a:t>Non-COVID ARDS: 11 RCTs, n=1254</a:t>
            </a:r>
          </a:p>
          <a:p>
            <a:pPr>
              <a:lnSpc>
                <a:spcPct val="100000"/>
              </a:lnSpc>
            </a:pPr>
            <a:endParaRPr lang="en-US" sz="2800" dirty="0"/>
          </a:p>
          <a:p>
            <a:pPr marL="0" indent="0">
              <a:lnSpc>
                <a:spcPct val="100000"/>
              </a:lnSpc>
              <a:buNone/>
            </a:pPr>
            <a:endParaRPr lang="en-US" sz="2800" dirty="0"/>
          </a:p>
          <a:p>
            <a:pPr lvl="1">
              <a:lnSpc>
                <a:spcPct val="100000"/>
              </a:lnSpc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33834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keKYXyaWtGYl8oeREEkQ"/>
</p:tagLst>
</file>

<file path=ppt/theme/theme1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50FC5D9A9ED7F4DA6E3AD29E790B5A4" ma:contentTypeVersion="13" ma:contentTypeDescription="Create a new document." ma:contentTypeScope="" ma:versionID="138d698537e82d93035536a62cca9fd1">
  <xsd:schema xmlns:xsd="http://www.w3.org/2001/XMLSchema" xmlns:xs="http://www.w3.org/2001/XMLSchema" xmlns:p="http://schemas.microsoft.com/office/2006/metadata/properties" xmlns:ns3="0f99ca09-164e-48d3-a719-948f09fefd0c" xmlns:ns4="204e88c5-92b1-4519-8292-53f58ba44b45" targetNamespace="http://schemas.microsoft.com/office/2006/metadata/properties" ma:root="true" ma:fieldsID="1b45a10eeee6107e6ce1686923028a22" ns3:_="" ns4:_="">
    <xsd:import namespace="0f99ca09-164e-48d3-a719-948f09fefd0c"/>
    <xsd:import namespace="204e88c5-92b1-4519-8292-53f58ba44b45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KeyPoints" minOccurs="0"/>
                <xsd:element ref="ns4:MediaServiceKeyPoints" minOccurs="0"/>
                <xsd:element ref="ns4:MediaServiceAutoTags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ServiceDateTaken" minOccurs="0"/>
                <xsd:element ref="ns4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f99ca09-164e-48d3-a719-948f09fefd0c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04e88c5-92b1-4519-8292-53f58ba44b4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9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B2E0C640-F409-4BD3-B3AD-69FC8B59F887}">
  <ds:schemaRefs>
    <ds:schemaRef ds:uri="0f99ca09-164e-48d3-a719-948f09fefd0c"/>
    <ds:schemaRef ds:uri="204e88c5-92b1-4519-8292-53f58ba44b45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8DB5D8FD-2178-4FFD-975D-5E6D683A698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56AC2C4-FC25-4190-B4AA-1F770450092E}">
  <ds:schemaRefs>
    <ds:schemaRef ds:uri="0f99ca09-164e-48d3-a719-948f09fefd0c"/>
    <ds:schemaRef ds:uri="204e88c5-92b1-4519-8292-53f58ba44b45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532</TotalTime>
  <Words>650</Words>
  <Application>Microsoft Office PowerPoint</Application>
  <PresentationFormat>Widescreen</PresentationFormat>
  <Paragraphs>94</Paragraphs>
  <Slides>21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1</vt:i4>
      </vt:variant>
    </vt:vector>
  </HeadingPairs>
  <TitlesOfParts>
    <vt:vector size="37" baseType="lpstr">
      <vt:lpstr>Arial</vt:lpstr>
      <vt:lpstr>Calibri</vt:lpstr>
      <vt:lpstr>Calibri Light</vt:lpstr>
      <vt:lpstr>Corbel</vt:lpstr>
      <vt:lpstr>Helvetica Neue</vt:lpstr>
      <vt:lpstr>Helvetica Neue Light</vt:lpstr>
      <vt:lpstr>Helvetica Neue Thin</vt:lpstr>
      <vt:lpstr>Leelawadee</vt:lpstr>
      <vt:lpstr>Source Sans Pro</vt:lpstr>
      <vt:lpstr>Symbol</vt:lpstr>
      <vt:lpstr>Système normal</vt:lpstr>
      <vt:lpstr>Wingdings</vt:lpstr>
      <vt:lpstr>Custom Design</vt:lpstr>
      <vt:lpstr>1_Custom Design</vt:lpstr>
      <vt:lpstr>think-cell Slide</vt:lpstr>
      <vt:lpstr>Document</vt:lpstr>
      <vt:lpstr>WHO recommendations for non-invasive respiratory support for COVID-19</vt:lpstr>
      <vt:lpstr>Objectives</vt:lpstr>
      <vt:lpstr>COVID-19 is still an active pandemic</vt:lpstr>
      <vt:lpstr>Population</vt:lpstr>
      <vt:lpstr>Methods</vt:lpstr>
      <vt:lpstr>Certainty of evidence (quality of the evidence, confidence in estimates)</vt:lpstr>
      <vt:lpstr>Strength of recommendations</vt:lpstr>
      <vt:lpstr>Four options for recommendations</vt:lpstr>
      <vt:lpstr>Sources of evidence</vt:lpstr>
      <vt:lpstr>Recommendation 1 - HFNO</vt:lpstr>
      <vt:lpstr>PowerPoint Presentation</vt:lpstr>
      <vt:lpstr>Recommendation 2 - CPAP</vt:lpstr>
      <vt:lpstr>PowerPoint Presentation</vt:lpstr>
      <vt:lpstr>Recommendation 3 - NIV</vt:lpstr>
      <vt:lpstr>PowerPoint Presentation</vt:lpstr>
      <vt:lpstr>Practical information (based on GDG experience)</vt:lpstr>
      <vt:lpstr>All devices – key points</vt:lpstr>
      <vt:lpstr>No recommendation due to lack of certainty of evidence</vt:lpstr>
      <vt:lpstr>Future directions</vt:lpstr>
      <vt:lpstr>Research needs</vt:lpstr>
      <vt:lpstr>Recommendation implication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opic Meeting, Date</dc:title>
  <dc:subject/>
  <dc:creator>CRAMOND, Vanessa</dc:creator>
  <cp:keywords/>
  <dc:description/>
  <cp:lastModifiedBy>Law, Tyler</cp:lastModifiedBy>
  <cp:revision>89</cp:revision>
  <cp:lastPrinted>2022-03-08T08:43:12Z</cp:lastPrinted>
  <dcterms:created xsi:type="dcterms:W3CDTF">2020-02-18T10:56:14Z</dcterms:created>
  <dcterms:modified xsi:type="dcterms:W3CDTF">2022-08-19T19:15:37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50FC5D9A9ED7F4DA6E3AD29E790B5A4</vt:lpwstr>
  </property>
</Properties>
</file>